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theme/theme3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4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5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6.xml" ContentType="application/vnd.openxmlformats-officedocument.theme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7.xml" ContentType="application/vnd.openxmlformats-officedocument.theme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8.xml" ContentType="application/vnd.openxmlformats-officedocument.theme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theme/theme9.xml" ContentType="application/vnd.openxmlformats-officedocument.theme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theme/theme10.xml" ContentType="application/vnd.openxmlformats-officedocument.theme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theme/theme11.xml" ContentType="application/vnd.openxmlformats-officedocument.theme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theme/theme1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1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4" r:id="rId4"/>
    <p:sldMasterId id="2147483712" r:id="rId5"/>
    <p:sldMasterId id="2147483668" r:id="rId6"/>
    <p:sldMasterId id="2147483688" r:id="rId7"/>
    <p:sldMasterId id="2147483700" r:id="rId8"/>
    <p:sldMasterId id="2147483724" r:id="rId9"/>
    <p:sldMasterId id="2147483736" r:id="rId10"/>
    <p:sldMasterId id="2147483750" r:id="rId11"/>
    <p:sldMasterId id="2147483762" r:id="rId12"/>
    <p:sldMasterId id="2147483774" r:id="rId13"/>
    <p:sldMasterId id="2147483799" r:id="rId14"/>
    <p:sldMasterId id="2147483824" r:id="rId15"/>
  </p:sldMasterIdLst>
  <p:notesMasterIdLst>
    <p:notesMasterId r:id="rId27"/>
  </p:notesMasterIdLst>
  <p:sldIdLst>
    <p:sldId id="281" r:id="rId16"/>
    <p:sldId id="3340" r:id="rId17"/>
    <p:sldId id="3388" r:id="rId18"/>
    <p:sldId id="3539" r:id="rId19"/>
    <p:sldId id="3369" r:id="rId20"/>
    <p:sldId id="3423" r:id="rId21"/>
    <p:sldId id="3536" r:id="rId22"/>
    <p:sldId id="3500" r:id="rId23"/>
    <p:sldId id="3537" r:id="rId24"/>
    <p:sldId id="3540" r:id="rId25"/>
    <p:sldId id="3492" r:id="rId26"/>
  </p:sldIdLst>
  <p:sldSz cx="12192000" cy="6858000"/>
  <p:notesSz cx="7010400" cy="92964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5C5A015D-E20A-F60F-8833-52B74F362F75}" name="Qureshi, Taj F." initials="QTF" userId="S::tqureshi@bwh.harvard.edu::e19f8f9a-4b04-4f30-b58a-5b568dd505d5" providerId="AD"/>
  <p188:author id="{EB0D72F7-9E93-67BB-647E-17ADC68902D5}" name="Desai, Sonali P.,MD" initials="DP" userId="S::sdesai5@bwh.harvard.edu::da823ac8-cded-4908-8497-a463dec84067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Qureshi, Taj F." initials="QTF" lastIdx="35" clrIdx="6">
    <p:extLst>
      <p:ext uri="{19B8F6BF-5375-455C-9EA6-DF929625EA0E}">
        <p15:presenceInfo xmlns:p15="http://schemas.microsoft.com/office/powerpoint/2012/main" userId="S::tqureshi@bwh.harvard.edu::e19f8f9a-4b04-4f30-b58a-5b568dd505d5" providerId="AD"/>
      </p:ext>
    </p:extLst>
  </p:cmAuthor>
  <p:cmAuthor id="1" name="Hagono, Regina" initials="HR" lastIdx="88" clrIdx="0"/>
  <p:cmAuthor id="8" name="Levie, Alexandra Catherine" initials="LC" lastIdx="8" clrIdx="7">
    <p:extLst>
      <p:ext uri="{19B8F6BF-5375-455C-9EA6-DF929625EA0E}">
        <p15:presenceInfo xmlns:p15="http://schemas.microsoft.com/office/powerpoint/2012/main" userId="S::alevie@bwh.harvard.edu::054c0d2c-3b65-478d-961d-89fc32e982d9" providerId="AD"/>
      </p:ext>
    </p:extLst>
  </p:cmAuthor>
  <p:cmAuthor id="2" name="Desai, Sonali Parekh,M.D." initials="DSP" lastIdx="13" clrIdx="1"/>
  <p:cmAuthor id="9" name="Lorusso, Jessica A." initials="LJA" lastIdx="36" clrIdx="8">
    <p:extLst>
      <p:ext uri="{19B8F6BF-5375-455C-9EA6-DF929625EA0E}">
        <p15:presenceInfo xmlns:p15="http://schemas.microsoft.com/office/powerpoint/2012/main" userId="S::jlorusso@bwh.harvard.edu::59f70244-0f1f-4cea-bc85-e4cea69f858a" providerId="AD"/>
      </p:ext>
    </p:extLst>
  </p:cmAuthor>
  <p:cmAuthor id="3" name="Hagono, Regina" initials="HR [2]" lastIdx="9" clrIdx="2"/>
  <p:cmAuthor id="10" name="Lynch, Elyse" initials="LE" lastIdx="2" clrIdx="9">
    <p:extLst>
      <p:ext uri="{19B8F6BF-5375-455C-9EA6-DF929625EA0E}">
        <p15:presenceInfo xmlns:p15="http://schemas.microsoft.com/office/powerpoint/2012/main" userId="S::elynch8@bwh.harvard.edu::760a6774-bc5c-4dbf-8c03-a0277c184ebb" providerId="AD"/>
      </p:ext>
    </p:extLst>
  </p:cmAuthor>
  <p:cmAuthor id="4" name="Kapoor, Neena,M.D." initials="KN" lastIdx="11" clrIdx="3"/>
  <p:cmAuthor id="5" name="Tramontozzi, Luca Alessandro" initials="TA" lastIdx="2" clrIdx="4">
    <p:extLst>
      <p:ext uri="{19B8F6BF-5375-455C-9EA6-DF929625EA0E}">
        <p15:presenceInfo xmlns:p15="http://schemas.microsoft.com/office/powerpoint/2012/main" userId="S::latramontozzi@bwh.harvard.edu::dab060e7-5642-45b5-a1fd-af65bcdec3d1" providerId="AD"/>
      </p:ext>
    </p:extLst>
  </p:cmAuthor>
  <p:cmAuthor id="6" name="Desai, Sonali Parekh,M.D." initials="DP" lastIdx="16" clrIdx="5">
    <p:extLst>
      <p:ext uri="{19B8F6BF-5375-455C-9EA6-DF929625EA0E}">
        <p15:presenceInfo xmlns:p15="http://schemas.microsoft.com/office/powerpoint/2012/main" userId="S::sdesai5@bwh.harvard.edu::da823ac8-cded-4908-8497-a463dec8406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2585A"/>
    <a:srgbClr val="5E646D"/>
    <a:srgbClr val="ABB4BB"/>
    <a:srgbClr val="FF9DA7"/>
    <a:srgbClr val="B07AA1"/>
    <a:srgbClr val="4E79A7"/>
    <a:srgbClr val="003DA6"/>
    <a:srgbClr val="009999"/>
    <a:srgbClr val="3AC5F1"/>
    <a:srgbClr val="3D6BB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262DBD0-448C-5F96-EECB-86F99DB2F620}" v="7" dt="2023-11-01T17:03:40.904"/>
    <p1510:client id="{420B8D9E-47C7-4B46-AC11-669C94DA47AC}" v="8" dt="2023-11-01T14:07:08.913"/>
    <p1510:client id="{6D869976-0122-4F5C-A671-7F92E30FD739}" v="3" dt="2023-11-21T12:36:50.107"/>
    <p1510:client id="{81A115DE-0940-5FD6-9A4E-9D706810AFF2}" v="240" dt="2023-11-09T19:31:37.065"/>
    <p1510:client id="{998CC9D2-D7A6-480C-9F0D-3BB8964690A5}" v="18" dt="2023-11-09T18:42:06.81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80" d="100"/>
          <a:sy n="80" d="100"/>
        </p:scale>
        <p:origin x="456" y="9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3.xml"/><Relationship Id="rId26" Type="http://schemas.openxmlformats.org/officeDocument/2006/relationships/slide" Target="slides/slide11.xml"/><Relationship Id="rId3" Type="http://schemas.openxmlformats.org/officeDocument/2006/relationships/customXml" Target="../customXml/item3.xml"/><Relationship Id="rId21" Type="http://schemas.openxmlformats.org/officeDocument/2006/relationships/slide" Target="slides/slide6.xml"/><Relationship Id="rId34" Type="http://schemas.microsoft.com/office/2018/10/relationships/authors" Target="authors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2.xml"/><Relationship Id="rId25" Type="http://schemas.openxmlformats.org/officeDocument/2006/relationships/slide" Target="slides/slide10.xml"/><Relationship Id="rId33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.xml"/><Relationship Id="rId20" Type="http://schemas.openxmlformats.org/officeDocument/2006/relationships/slide" Target="slides/slide5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9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8.xml"/><Relationship Id="rId28" Type="http://schemas.openxmlformats.org/officeDocument/2006/relationships/commentAuthors" Target="commentAuthor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4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7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748C1C13-4869-4616-8CAB-534E05FD0C4E}" type="datetimeFigureOut">
              <a:rPr lang="en-US" smtClean="0"/>
              <a:t>11/21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F22A8076-7478-4B2E-BFC9-06DEBE872E9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11141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2A8076-7478-4B2E-BFC9-06DEBE872E9F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380644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i="0" kern="1200">
                <a:solidFill>
                  <a:srgbClr val="000000"/>
                </a:solidFill>
                <a:effectLst/>
                <a:latin typeface="Segoe UI" panose="020B0502040204020203" pitchFamily="34" charset="0"/>
                <a:ea typeface="+mn-ea"/>
                <a:cs typeface="+mn-cs"/>
              </a:rPr>
              <a:t>N</a:t>
            </a:r>
            <a:r>
              <a:rPr lang="en-US" sz="1200">
                <a:solidFill>
                  <a:srgbClr val="000000"/>
                </a:solidFill>
                <a:latin typeface="Segoe UI" panose="020B0502040204020203" pitchFamily="34" charset="0"/>
              </a:rPr>
              <a:t>umbers on this slide include BI-RADS 3 </a:t>
            </a:r>
            <a:r>
              <a:rPr lang="en-US" sz="1200" err="1">
                <a:solidFill>
                  <a:srgbClr val="000000"/>
                </a:solidFill>
                <a:latin typeface="Segoe UI" panose="020B0502040204020203" pitchFamily="34" charset="0"/>
              </a:rPr>
              <a:t>Mammo</a:t>
            </a:r>
            <a:r>
              <a:rPr lang="en-US" sz="1200">
                <a:solidFill>
                  <a:srgbClr val="000000"/>
                </a:solidFill>
                <a:latin typeface="Segoe UI" panose="020B0502040204020203" pitchFamily="34" charset="0"/>
              </a:rPr>
              <a:t> &amp; US.</a:t>
            </a:r>
            <a:endParaRPr lang="en-US" sz="1200" b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>
                <a:solidFill>
                  <a:srgbClr val="000000"/>
                </a:solidFill>
                <a:latin typeface="Segoe UI" panose="020B0502040204020203" pitchFamily="34" charset="0"/>
              </a:rPr>
              <a:t>In Progress (Loop Open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2A8076-7478-4B2E-BFC9-06DEBE872E9F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840417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2A8076-7478-4B2E-BFC9-06DEBE872E9F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00601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sz="10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1BBA33-0321-422C-8C90-0E0F6C2515D9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93096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b="0" i="0" kern="1200">
                <a:solidFill>
                  <a:srgbClr val="000000"/>
                </a:solidFill>
                <a:effectLst/>
                <a:latin typeface="Segoe UI" panose="020B0502040204020203" pitchFamily="34" charset="0"/>
                <a:ea typeface="+mn-ea"/>
                <a:cs typeface="+mn-cs"/>
              </a:rPr>
              <a:t>N</a:t>
            </a:r>
            <a:r>
              <a:rPr lang="en-US" sz="1800">
                <a:solidFill>
                  <a:srgbClr val="000000"/>
                </a:solidFill>
                <a:latin typeface="Segoe UI" panose="020B0502040204020203" pitchFamily="34" charset="0"/>
              </a:rPr>
              <a:t>umbers on this slide include BI-RADS 3 </a:t>
            </a:r>
            <a:r>
              <a:rPr lang="en-US" sz="1800" err="1">
                <a:solidFill>
                  <a:srgbClr val="000000"/>
                </a:solidFill>
                <a:latin typeface="Segoe UI" panose="020B0502040204020203" pitchFamily="34" charset="0"/>
              </a:rPr>
              <a:t>Mammo</a:t>
            </a:r>
            <a:r>
              <a:rPr lang="en-US" sz="1800">
                <a:solidFill>
                  <a:srgbClr val="000000"/>
                </a:solidFill>
                <a:latin typeface="Segoe UI" panose="020B0502040204020203" pitchFamily="34" charset="0"/>
              </a:rPr>
              <a:t> &amp; US. They also include ARRC Page.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2A8076-7478-4B2E-BFC9-06DEBE872E9F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100385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ie Chart: Overall, Safety Net is acting on ~19% of follow-up alerts. </a:t>
            </a:r>
            <a:r>
              <a:rPr lang="en-US" sz="1800" b="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</a:rPr>
              <a:t>Of note, </a:t>
            </a:r>
            <a:r>
              <a:rPr lang="en-US" sz="1800" b="0" dirty="0">
                <a:solidFill>
                  <a:srgbClr val="FF0000"/>
                </a:solidFill>
                <a:effectLst/>
                <a:latin typeface="Calibri" panose="020F0502020204030204" pitchFamily="34" charset="0"/>
                <a:ea typeface="+mn-ea"/>
              </a:rPr>
              <a:t>i</a:t>
            </a:r>
            <a:r>
              <a:rPr lang="en-US" sz="1800" b="0" dirty="0">
                <a:solidFill>
                  <a:srgbClr val="FF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cludes all alerts in OneDrive that have indicated any Safety Net action (acknowledged by Safety Net, Safety Net in progress, Safety Net sent letter, etc.)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0" i="0" kern="1200" dirty="0">
                <a:solidFill>
                  <a:srgbClr val="000000"/>
                </a:solidFill>
                <a:effectLst/>
                <a:latin typeface="Segoe UI" panose="020B0502040204020203" pitchFamily="34" charset="0"/>
                <a:ea typeface="+mn-ea"/>
                <a:cs typeface="+mn-cs"/>
              </a:rPr>
              <a:t>N</a:t>
            </a:r>
            <a:r>
              <a:rPr lang="en-US" sz="1800" dirty="0">
                <a:solidFill>
                  <a:srgbClr val="000000"/>
                </a:solidFill>
                <a:latin typeface="Segoe UI" panose="020B0502040204020203" pitchFamily="34" charset="0"/>
              </a:rPr>
              <a:t>umbers on this slide do not include BI-RADS 3 </a:t>
            </a:r>
            <a:r>
              <a:rPr lang="en-US" sz="1800" dirty="0" err="1">
                <a:solidFill>
                  <a:srgbClr val="000000"/>
                </a:solidFill>
                <a:latin typeface="Segoe UI" panose="020B0502040204020203" pitchFamily="34" charset="0"/>
              </a:rPr>
              <a:t>Mammo</a:t>
            </a:r>
            <a:r>
              <a:rPr lang="en-US" sz="1800" dirty="0">
                <a:solidFill>
                  <a:srgbClr val="000000"/>
                </a:solidFill>
                <a:latin typeface="Segoe UI" panose="020B0502040204020203" pitchFamily="34" charset="0"/>
              </a:rPr>
              <a:t> &amp; US.</a:t>
            </a:r>
            <a:endParaRPr lang="en-US" sz="1800" b="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2A8076-7478-4B2E-BFC9-06DEBE872E9F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55872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Pie Chart: Overall, referring providers disagree with ~12% of follow-up recommendation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i="0" kern="1200">
                <a:solidFill>
                  <a:srgbClr val="000000"/>
                </a:solidFill>
                <a:effectLst/>
                <a:latin typeface="Segoe UI" panose="020B0502040204020203" pitchFamily="34" charset="0"/>
                <a:ea typeface="+mn-ea"/>
                <a:cs typeface="+mn-cs"/>
              </a:rPr>
              <a:t>N</a:t>
            </a:r>
            <a:r>
              <a:rPr lang="en-US" sz="1200">
                <a:solidFill>
                  <a:srgbClr val="000000"/>
                </a:solidFill>
                <a:latin typeface="Segoe UI" panose="020B0502040204020203" pitchFamily="34" charset="0"/>
              </a:rPr>
              <a:t>umbers on this slide do not include BI-RADS 3 </a:t>
            </a:r>
            <a:r>
              <a:rPr lang="en-US" sz="1200" err="1">
                <a:solidFill>
                  <a:srgbClr val="000000"/>
                </a:solidFill>
                <a:latin typeface="Segoe UI" panose="020B0502040204020203" pitchFamily="34" charset="0"/>
              </a:rPr>
              <a:t>Mammo</a:t>
            </a:r>
            <a:r>
              <a:rPr lang="en-US" sz="1200">
                <a:solidFill>
                  <a:srgbClr val="000000"/>
                </a:solidFill>
                <a:latin typeface="Segoe UI" panose="020B0502040204020203" pitchFamily="34" charset="0"/>
              </a:rPr>
              <a:t> &amp; US.</a:t>
            </a:r>
            <a:endParaRPr lang="en-US" sz="1200" b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2A8076-7478-4B2E-BFC9-06DEBE872E9F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665554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>
                <a:solidFill>
                  <a:srgbClr val="000000"/>
                </a:solidFill>
                <a:latin typeface="Segoe UI" panose="020B0502040204020203" pitchFamily="34" charset="0"/>
              </a:rPr>
              <a:t>Slide request by Safety Net – more detail as to the actions of Safety Net.</a:t>
            </a:r>
            <a:endParaRPr lang="en-US" sz="1800">
              <a:solidFill>
                <a:prstClr val="black"/>
              </a:solidFill>
              <a:latin typeface="Segoe UI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i="0" kern="1200">
                <a:solidFill>
                  <a:srgbClr val="000000"/>
                </a:solidFill>
                <a:effectLst/>
                <a:latin typeface="Segoe UI" panose="020B0502040204020203" pitchFamily="34" charset="0"/>
                <a:ea typeface="+mn-ea"/>
                <a:cs typeface="+mn-cs"/>
              </a:rPr>
              <a:t>N</a:t>
            </a:r>
            <a:r>
              <a:rPr lang="en-US" sz="1200">
                <a:solidFill>
                  <a:srgbClr val="000000"/>
                </a:solidFill>
                <a:latin typeface="Segoe UI" panose="020B0502040204020203" pitchFamily="34" charset="0"/>
              </a:rPr>
              <a:t>umbers on this slide do not include BI-RADS 3 </a:t>
            </a:r>
            <a:r>
              <a:rPr lang="en-US" sz="1200" err="1">
                <a:solidFill>
                  <a:srgbClr val="000000"/>
                </a:solidFill>
                <a:latin typeface="Segoe UI" panose="020B0502040204020203" pitchFamily="34" charset="0"/>
              </a:rPr>
              <a:t>Mammo</a:t>
            </a:r>
            <a:r>
              <a:rPr lang="en-US" sz="1200">
                <a:solidFill>
                  <a:srgbClr val="000000"/>
                </a:solidFill>
                <a:latin typeface="Segoe UI" panose="020B0502040204020203" pitchFamily="34" charset="0"/>
              </a:rPr>
              <a:t> &amp; US.</a:t>
            </a:r>
            <a:endParaRPr lang="en-US" sz="1200" b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2A8076-7478-4B2E-BFC9-06DEBE872E9F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479834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>
                <a:solidFill>
                  <a:srgbClr val="000000"/>
                </a:solidFill>
                <a:latin typeface="Segoe UI" panose="020B0502040204020203" pitchFamily="34" charset="0"/>
              </a:rPr>
              <a:t>Slide request by Safety Net – see the results of Safety Net work over time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0" i="0" kern="1200">
                <a:solidFill>
                  <a:srgbClr val="000000"/>
                </a:solidFill>
                <a:effectLst/>
                <a:latin typeface="Segoe UI" panose="020B0502040204020203" pitchFamily="34" charset="0"/>
                <a:ea typeface="+mn-ea"/>
                <a:cs typeface="+mn-cs"/>
              </a:rPr>
              <a:t>N</a:t>
            </a:r>
            <a:r>
              <a:rPr lang="en-US" sz="1800">
                <a:solidFill>
                  <a:srgbClr val="000000"/>
                </a:solidFill>
                <a:latin typeface="Segoe UI" panose="020B0502040204020203" pitchFamily="34" charset="0"/>
              </a:rPr>
              <a:t>umbers on this slide do not include BI-RADS 3 </a:t>
            </a:r>
            <a:r>
              <a:rPr lang="en-US" sz="1800" err="1">
                <a:solidFill>
                  <a:srgbClr val="000000"/>
                </a:solidFill>
                <a:latin typeface="Segoe UI" panose="020B0502040204020203" pitchFamily="34" charset="0"/>
              </a:rPr>
              <a:t>Mammo</a:t>
            </a:r>
            <a:r>
              <a:rPr lang="en-US" sz="1800">
                <a:solidFill>
                  <a:srgbClr val="000000"/>
                </a:solidFill>
                <a:latin typeface="Segoe UI" panose="020B0502040204020203" pitchFamily="34" charset="0"/>
              </a:rPr>
              <a:t> &amp; US.</a:t>
            </a:r>
            <a:endParaRPr lang="en-US" sz="1800" b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800">
              <a:solidFill>
                <a:prstClr val="black"/>
              </a:solidFill>
              <a:latin typeface="Segoe UI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2A8076-7478-4B2E-BFC9-06DEBE872E9F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47390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US" sz="1200" b="0" i="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2A8076-7478-4B2E-BFC9-06DEBE872E9F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007527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i="0" kern="1200">
                <a:solidFill>
                  <a:srgbClr val="000000"/>
                </a:solidFill>
                <a:effectLst/>
                <a:latin typeface="Segoe UI" panose="020B0502040204020203" pitchFamily="34" charset="0"/>
                <a:ea typeface="+mn-ea"/>
                <a:cs typeface="+mn-cs"/>
              </a:rPr>
              <a:t>N</a:t>
            </a:r>
            <a:r>
              <a:rPr lang="en-US" sz="1200">
                <a:solidFill>
                  <a:srgbClr val="000000"/>
                </a:solidFill>
                <a:latin typeface="Segoe UI" panose="020B0502040204020203" pitchFamily="34" charset="0"/>
              </a:rPr>
              <a:t>umbers on this slide include BI-RADS 3 </a:t>
            </a:r>
            <a:r>
              <a:rPr lang="en-US" sz="1200" err="1">
                <a:solidFill>
                  <a:srgbClr val="000000"/>
                </a:solidFill>
                <a:latin typeface="Segoe UI" panose="020B0502040204020203" pitchFamily="34" charset="0"/>
              </a:rPr>
              <a:t>Mammo</a:t>
            </a:r>
            <a:r>
              <a:rPr lang="en-US" sz="1200">
                <a:solidFill>
                  <a:srgbClr val="000000"/>
                </a:solidFill>
                <a:latin typeface="Segoe UI" panose="020B0502040204020203" pitchFamily="34" charset="0"/>
              </a:rPr>
              <a:t> &amp; U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>
                <a:solidFill>
                  <a:srgbClr val="000000"/>
                </a:solidFill>
                <a:effectLst/>
                <a:latin typeface="Segoe UI" panose="020B0502040204020203" pitchFamily="34" charset="0"/>
                <a:ea typeface="Calibri" panose="020F0502020204030204" pitchFamily="34" charset="0"/>
              </a:rPr>
              <a:t>Resolved (Loop Closed)</a:t>
            </a:r>
            <a:endParaRPr lang="en-US" sz="1200" b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2A8076-7478-4B2E-BFC9-06DEBE872E9F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42998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2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3.xml"/><Relationship Id="rId4" Type="http://schemas.openxmlformats.org/officeDocument/2006/relationships/image" Target="../media/image13.emf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2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9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9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9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9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9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9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9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9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F5C4EEB1-2F8E-4657-9980-7B8364120347}" type="datetime1">
              <a:rPr lang="en-US" smtClean="0"/>
              <a:t>11/2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41100" y="6356351"/>
            <a:ext cx="749301" cy="365125"/>
          </a:xfrm>
          <a:prstGeom prst="rect">
            <a:avLst/>
          </a:prstGeom>
        </p:spPr>
        <p:txBody>
          <a:bodyPr/>
          <a:lstStyle/>
          <a:p>
            <a:fld id="{1525C0F7-8877-4DF7-9DDC-7358225ABBA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491350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A78DCA77-255D-4BAE-859B-1161D1E7AAB6}" type="datetime1">
              <a:rPr lang="en-US" smtClean="0"/>
              <a:t>11/2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41100" y="6356351"/>
            <a:ext cx="749301" cy="365125"/>
          </a:xfrm>
          <a:prstGeom prst="rect">
            <a:avLst/>
          </a:prstGeom>
        </p:spPr>
        <p:txBody>
          <a:bodyPr/>
          <a:lstStyle/>
          <a:p>
            <a:fld id="{1525C0F7-8877-4DF7-9DDC-7358225ABBA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4839070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318" y="457200"/>
            <a:ext cx="393276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717" y="987426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0318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65164968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32145612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F5C4EEB1-2F8E-4657-9980-7B8364120347}" type="datetime1">
              <a:rPr lang="en-US" smtClean="0"/>
              <a:t>11/2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41100" y="6356351"/>
            <a:ext cx="749301" cy="365125"/>
          </a:xfrm>
          <a:prstGeom prst="rect">
            <a:avLst/>
          </a:prstGeom>
        </p:spPr>
        <p:txBody>
          <a:bodyPr/>
          <a:lstStyle/>
          <a:p>
            <a:fld id="{1525C0F7-8877-4DF7-9DDC-7358225ABBA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4913509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C2B2C4A4-27A2-4287-A3E0-00E9520173BE}" type="datetime1">
              <a:rPr lang="en-US" smtClean="0"/>
              <a:t>11/2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41100" y="6356351"/>
            <a:ext cx="749301" cy="365125"/>
          </a:xfrm>
          <a:prstGeom prst="rect">
            <a:avLst/>
          </a:prstGeom>
        </p:spPr>
        <p:txBody>
          <a:bodyPr/>
          <a:lstStyle/>
          <a:p>
            <a:fld id="{1525C0F7-8877-4DF7-9DDC-7358225ABBA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5031017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39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65460F34-DFF8-429E-95B0-9DB0E154EEBC}" type="datetime1">
              <a:rPr lang="en-US" smtClean="0"/>
              <a:t>11/2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41100" y="6356351"/>
            <a:ext cx="749301" cy="365125"/>
          </a:xfrm>
          <a:prstGeom prst="rect">
            <a:avLst/>
          </a:prstGeom>
        </p:spPr>
        <p:txBody>
          <a:bodyPr/>
          <a:lstStyle/>
          <a:p>
            <a:fld id="{1525C0F7-8877-4DF7-9DDC-7358225ABBA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6817507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5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825625"/>
            <a:ext cx="515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1FE4D93E-4E4F-47D5-84BE-C1E2E6DC377F}" type="datetime1">
              <a:rPr lang="en-US" smtClean="0"/>
              <a:t>11/21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41100" y="6356351"/>
            <a:ext cx="749301" cy="365125"/>
          </a:xfrm>
          <a:prstGeom prst="rect">
            <a:avLst/>
          </a:prstGeom>
        </p:spPr>
        <p:txBody>
          <a:bodyPr/>
          <a:lstStyle/>
          <a:p>
            <a:fld id="{1525C0F7-8877-4DF7-9DDC-7358225ABBA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7101721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317" y="365126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0318" y="1681163"/>
            <a:ext cx="5158316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40318" y="2505075"/>
            <a:ext cx="5158316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71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71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8861C7F1-BE3C-4008-A07F-8524B5C6FFD9}" type="datetime1">
              <a:rPr lang="en-US" smtClean="0"/>
              <a:t>11/21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41100" y="6356351"/>
            <a:ext cx="749301" cy="365125"/>
          </a:xfrm>
          <a:prstGeom prst="rect">
            <a:avLst/>
          </a:prstGeom>
        </p:spPr>
        <p:txBody>
          <a:bodyPr/>
          <a:lstStyle/>
          <a:p>
            <a:fld id="{1525C0F7-8877-4DF7-9DDC-7358225ABBA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0189761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D970B26C-93DF-41C0-9AEF-F033CE98DE26}" type="datetime1">
              <a:rPr lang="en-US" smtClean="0"/>
              <a:t>11/21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41100" y="6356351"/>
            <a:ext cx="749301" cy="365125"/>
          </a:xfrm>
          <a:prstGeom prst="rect">
            <a:avLst/>
          </a:prstGeom>
        </p:spPr>
        <p:txBody>
          <a:bodyPr/>
          <a:lstStyle/>
          <a:p>
            <a:fld id="{1525C0F7-8877-4DF7-9DDC-7358225ABBA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9576733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0DC2E92B-947D-4887-BFEB-28A3E9818A95}" type="datetime1">
              <a:rPr lang="en-US" smtClean="0"/>
              <a:t>11/21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41100" y="6356351"/>
            <a:ext cx="749301" cy="365125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fld id="{1525C0F7-8877-4DF7-9DDC-7358225ABBA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4773192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318" y="457200"/>
            <a:ext cx="393276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717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0318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4F277EF8-9A9F-429E-9A08-38AA7ABB353D}" type="datetime1">
              <a:rPr lang="en-US" smtClean="0"/>
              <a:t>11/21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41100" y="6356351"/>
            <a:ext cx="749301" cy="365125"/>
          </a:xfrm>
          <a:prstGeom prst="rect">
            <a:avLst/>
          </a:prstGeom>
        </p:spPr>
        <p:txBody>
          <a:bodyPr/>
          <a:lstStyle/>
          <a:p>
            <a:fld id="{1525C0F7-8877-4DF7-9DDC-7358225ABBA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6239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6835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EF68237-7154-4B69-8428-14A5DC298194}" type="datetime1">
              <a:rPr lang="en-US" smtClean="0"/>
              <a:t>11/2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41100" y="6356351"/>
            <a:ext cx="749301" cy="365125"/>
          </a:xfrm>
          <a:prstGeom prst="rect">
            <a:avLst/>
          </a:prstGeom>
        </p:spPr>
        <p:txBody>
          <a:bodyPr/>
          <a:lstStyle/>
          <a:p>
            <a:fld id="{1525C0F7-8877-4DF7-9DDC-7358225ABBA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0217868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318" y="457200"/>
            <a:ext cx="393276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717" y="987426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0318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6AB12FE7-1E26-4D5A-A14F-67A8BDD89BC4}" type="datetime1">
              <a:rPr lang="en-US" smtClean="0"/>
              <a:t>11/21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41100" y="6356351"/>
            <a:ext cx="749301" cy="365125"/>
          </a:xfrm>
          <a:prstGeom prst="rect">
            <a:avLst/>
          </a:prstGeom>
        </p:spPr>
        <p:txBody>
          <a:bodyPr/>
          <a:lstStyle/>
          <a:p>
            <a:fld id="{1525C0F7-8877-4DF7-9DDC-7358225ABBA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2676402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A78DCA77-255D-4BAE-859B-1161D1E7AAB6}" type="datetime1">
              <a:rPr lang="en-US" smtClean="0"/>
              <a:t>11/2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41100" y="6356351"/>
            <a:ext cx="749301" cy="365125"/>
          </a:xfrm>
          <a:prstGeom prst="rect">
            <a:avLst/>
          </a:prstGeom>
        </p:spPr>
        <p:txBody>
          <a:bodyPr/>
          <a:lstStyle/>
          <a:p>
            <a:fld id="{1525C0F7-8877-4DF7-9DDC-7358225ABBA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4839070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6835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EF68237-7154-4B69-8428-14A5DC298194}" type="datetime1">
              <a:rPr lang="en-US" smtClean="0"/>
              <a:t>11/2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41100" y="6356351"/>
            <a:ext cx="749301" cy="365125"/>
          </a:xfrm>
          <a:prstGeom prst="rect">
            <a:avLst/>
          </a:prstGeom>
        </p:spPr>
        <p:txBody>
          <a:bodyPr/>
          <a:lstStyle/>
          <a:p>
            <a:fld id="{1525C0F7-8877-4DF7-9DDC-7358225ABBA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0217868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701FD0-309B-417B-AFE3-453F65B268F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06424" y="2119184"/>
            <a:ext cx="9522781" cy="1680909"/>
          </a:xfrm>
        </p:spPr>
        <p:txBody>
          <a:bodyPr anchor="b"/>
          <a:lstStyle>
            <a:lvl1pPr algn="l">
              <a:defRPr sz="60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26F3B83-EC52-4BE0-805E-877A8F7277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06424" y="3884582"/>
            <a:ext cx="9522781" cy="737220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z="2400"/>
              <a:t>Presenter or subtitle goes here</a:t>
            </a:r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65779997-ADCC-AF4F-8684-E7F8EE197ED7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106424" y="6316193"/>
            <a:ext cx="1832218" cy="243349"/>
          </a:xfrm>
        </p:spPr>
        <p:txBody>
          <a:bodyPr/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Month, year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1345AA3-D8B8-E441-B56F-BDC684E64F94}"/>
              </a:ext>
            </a:extLst>
          </p:cNvPr>
          <p:cNvSpPr/>
          <p:nvPr/>
        </p:nvSpPr>
        <p:spPr>
          <a:xfrm>
            <a:off x="0" y="0"/>
            <a:ext cx="374904" cy="6858000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AB3647D-36F5-A945-9612-7CA07EEF3DE4}"/>
              </a:ext>
            </a:extLst>
          </p:cNvPr>
          <p:cNvSpPr/>
          <p:nvPr/>
        </p:nvSpPr>
        <p:spPr>
          <a:xfrm>
            <a:off x="11817096" y="0"/>
            <a:ext cx="374904" cy="6858000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2AD5D98F-B901-4040-88CE-DBE6B1D776F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106424" y="635936"/>
            <a:ext cx="3172963" cy="43996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6C3E63C-A39E-4343-AE5E-C476DDC816F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9285436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32587A6-FADF-CA4B-92D7-011DFD3E1EC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47870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32587A6-FADF-CA4B-92D7-011DFD3E1E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4336F34-49E0-4A7C-A020-3CF62B0F86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26FCD3D-BE75-4AB7-AF91-4934F3ADAA50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4pPr marL="917575" indent="-233363">
              <a:buFont typeface="Wingdings" pitchFamily="2" charset="2"/>
              <a:buChar char="§"/>
              <a:defRPr/>
            </a:lvl4pPr>
            <a:lvl5pPr marL="1146175" indent="-234950">
              <a:buSzPct val="90000"/>
              <a:buFont typeface="System Font Regular"/>
              <a:buChar char="–"/>
              <a:defRPr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7898C508-098E-8641-956A-DD8F7B008BD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add a footnote for this page or delete placeholder if not in us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A9F9743-0A9D-2345-B04A-C049C5CEE76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70276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57C3BE6-2E2A-4A2D-A3F5-C50D273712DB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40079" y="2029842"/>
            <a:ext cx="5184648" cy="3715321"/>
          </a:xfrm>
        </p:spPr>
        <p:txBody>
          <a:bodyPr/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B75C9D9-E2F8-49F1-974F-B06A783A1E1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40079" y="1719072"/>
            <a:ext cx="5184648" cy="310771"/>
          </a:xfrm>
        </p:spPr>
        <p:txBody>
          <a:bodyPr anchor="t"/>
          <a:lstStyle>
            <a:lvl1pPr marL="0" indent="0">
              <a:buNone/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Optional headlin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B17A10F-FA16-489F-B6F5-AF30FC09B40C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361112" y="1719072"/>
            <a:ext cx="5183188" cy="310770"/>
          </a:xfrm>
        </p:spPr>
        <p:txBody>
          <a:bodyPr anchor="t"/>
          <a:lstStyle>
            <a:lvl1pPr marL="0" indent="0">
              <a:buNone/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Optional headlin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28EC26D-D076-400E-AA91-3DB2533CB7BA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361112" y="2029842"/>
            <a:ext cx="5183188" cy="3715321"/>
          </a:xfrm>
        </p:spPr>
        <p:txBody>
          <a:bodyPr/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EECB684-FDD4-594C-98A0-429D85877A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B608995E-8074-C54D-B812-031E33AAB3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add a footnote for this page or delete placeholder if not in use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EA610992-4247-0644-B81C-8D5480478CA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51430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01">
          <p15:clr>
            <a:srgbClr val="FBAE40"/>
          </p15:clr>
        </p15:guide>
        <p15:guide id="3" pos="7274">
          <p15:clr>
            <a:srgbClr val="FBAE40"/>
          </p15:clr>
        </p15:guide>
        <p15:guide id="5" pos="3997">
          <p15:clr>
            <a:srgbClr val="FBAE40"/>
          </p15:clr>
        </p15:guide>
        <p15:guide id="6" pos="3678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C4BC3F-D36A-4333-B1D9-A713B6650EE6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40080" y="1719072"/>
            <a:ext cx="5184648" cy="4023360"/>
          </a:xfrm>
        </p:spPr>
        <p:txBody>
          <a:bodyPr/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E283BAA-2DD0-4F73-A72D-9AF490563F45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62700" y="1719072"/>
            <a:ext cx="5184648" cy="4023360"/>
          </a:xfrm>
        </p:spPr>
        <p:txBody>
          <a:bodyPr/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3718913-5E8E-2E44-862B-D47884C2F9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32BC4998-B6F1-DA42-B41F-97DBCEF7205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add a footnote for this page or delete placeholder if not in us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EBE4E73-5259-334F-AE3B-9FF8EABC02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06704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74">
          <p15:clr>
            <a:srgbClr val="FBAE40"/>
          </p15:clr>
        </p15:guide>
        <p15:guide id="3" pos="4001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C4BC3F-D36A-4333-B1D9-A713B6650EE6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40079" y="1719072"/>
            <a:ext cx="3200400" cy="402336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E283BAA-2DD0-4F73-A72D-9AF490563F45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491989" y="1719072"/>
            <a:ext cx="3200400" cy="402336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E195327D-A4B7-F745-A0BE-0958545B2B09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8343900" y="1719072"/>
            <a:ext cx="3200400" cy="402336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CBECED5-E724-994C-A697-E6EB072DB6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492594FB-1602-454E-A30E-06B1DBF354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add a footnote for this page or delete placeholder if not in us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B01DFA6-8F9A-4F40-94EB-5AC4A5BBC72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46906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97">
          <p15:clr>
            <a:srgbClr val="FBAE40"/>
          </p15:clr>
        </p15:guide>
        <p15:guide id="3" pos="2421">
          <p15:clr>
            <a:srgbClr val="FBAE40"/>
          </p15:clr>
        </p15:guide>
        <p15:guide id="4" pos="2829">
          <p15:clr>
            <a:srgbClr val="FBAE40"/>
          </p15:clr>
        </p15:guide>
        <p15:guide id="5" pos="4849">
          <p15:clr>
            <a:srgbClr val="FBAE40"/>
          </p15:clr>
        </p15:guide>
        <p15:guide id="6" pos="5258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C4BC3F-D36A-4333-B1D9-A713B6650EE6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40079" y="1719072"/>
            <a:ext cx="7052310" cy="402336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E195327D-A4B7-F745-A0BE-0958545B2B09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8343900" y="1719072"/>
            <a:ext cx="3200400" cy="402336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CBECED5-E724-994C-A697-E6EB072DB6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492594FB-1602-454E-A30E-06B1DBF354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add a footnote for this page or delete placeholder if not in us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C2CE710-5EBE-7347-8470-8ABE73F49B4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52816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97">
          <p15:clr>
            <a:srgbClr val="FBAE40"/>
          </p15:clr>
        </p15:guide>
        <p15:guide id="3" pos="2421">
          <p15:clr>
            <a:srgbClr val="FBAE40"/>
          </p15:clr>
        </p15:guide>
        <p15:guide id="4" pos="2829">
          <p15:clr>
            <a:srgbClr val="FBAE40"/>
          </p15:clr>
        </p15:guide>
        <p15:guide id="5" pos="4849">
          <p15:clr>
            <a:srgbClr val="FBAE40"/>
          </p15:clr>
        </p15:guide>
        <p15:guide id="6" pos="5258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C4BC3F-D36A-4333-B1D9-A713B6650EE6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40079" y="2227342"/>
            <a:ext cx="3200400" cy="267096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Table or chart placeholder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E283BAA-2DD0-4F73-A72D-9AF490563F45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491990" y="2227342"/>
            <a:ext cx="3200400" cy="267096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Table or chart placeholder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E195327D-A4B7-F745-A0BE-0958545B2B09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8343900" y="2227342"/>
            <a:ext cx="3200400" cy="267096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Table or chart placeholder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B7D6A64-436E-B549-A738-5BD4E26E780C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640081" y="1719072"/>
            <a:ext cx="3200400" cy="273193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hart tit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C9952872-2D99-6A44-AF8E-4C81084A6F5D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4491990" y="1719072"/>
            <a:ext cx="3200400" cy="273193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hart 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1F3B5EBD-761F-0640-A0DD-A2788D2EC789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343900" y="1719072"/>
            <a:ext cx="3200400" cy="273193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hart title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EBDA8CCF-CB0C-BA45-8FC4-6297C0E0A91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990" y="5158431"/>
            <a:ext cx="3200400" cy="586732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Body copy. Keep the messaging clear, concise and to the point.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BA7599CD-99BD-894F-B372-42E0EEA2CEA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343900" y="5158431"/>
            <a:ext cx="3200400" cy="586732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Body copy. Keep the messaging clear, concise and to the point.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FDCCCC4-4E98-AF48-BBF9-0C662158A29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62" y="5158431"/>
            <a:ext cx="3200400" cy="586732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Body copy. Keep the messaging clear, concise and to the point.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182F045-38A8-AF47-A713-4B59F28668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48BDEB4C-56D6-2044-957E-BC1323994AC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add a footnote for this page or delete placeholder if not in us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38188A1-BE1F-C149-9AF3-45615472F9A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67258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97">
          <p15:clr>
            <a:srgbClr val="FBAE40"/>
          </p15:clr>
        </p15:guide>
        <p15:guide id="3" pos="2421">
          <p15:clr>
            <a:srgbClr val="FBAE40"/>
          </p15:clr>
        </p15:guide>
        <p15:guide id="4" pos="4849">
          <p15:clr>
            <a:srgbClr val="FBAE40"/>
          </p15:clr>
        </p15:guide>
        <p15:guide id="6" orient="horz" pos="3086">
          <p15:clr>
            <a:srgbClr val="FBAE40"/>
          </p15:clr>
        </p15:guide>
        <p15:guide id="7" orient="horz" pos="3246">
          <p15:clr>
            <a:srgbClr val="FBAE40"/>
          </p15:clr>
        </p15:guide>
        <p15:guide id="10" pos="5250">
          <p15:clr>
            <a:srgbClr val="FBAE40"/>
          </p15:clr>
        </p15:guide>
        <p15:guide id="11" pos="2829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BC1680-61CD-4835-9314-C8CCCAAF2FC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8677856-55AD-4DDD-B032-816B7452A76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5ACFBA6-D3E3-48AA-8311-AC95756186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3E8233-3406-4DA4-B1A7-0D1EF51F0BDA}" type="datetimeFigureOut">
              <a:rPr lang="en-US" smtClean="0"/>
              <a:t>11/21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A7DF2C1-3CEF-4049-BB12-537B515A66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B3CFDA1-D28E-4F0A-A177-6599AC552E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91C937-4A66-4F34-97D6-A399595905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3274550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/ two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CB66F7F6-8B6A-B445-A778-7A10C4FCF713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491989" y="2227342"/>
            <a:ext cx="3200400" cy="267096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Table or chart placeholder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C6C0EC67-5E7D-4248-962B-AE294DEFEA5C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8343900" y="2227342"/>
            <a:ext cx="3200400" cy="267096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Table or chart placeholder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CEF9940F-D9D9-B343-B51A-10E10791BBBA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4491989" y="1719072"/>
            <a:ext cx="3200400" cy="273193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Optional chart 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F6B0467-EE62-FA42-87FD-561619A6F8F5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343900" y="1719072"/>
            <a:ext cx="3200400" cy="273193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Optional chart title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9FF451F5-7748-C949-A955-B66D566CC11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989" y="5158432"/>
            <a:ext cx="3200400" cy="586732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Body copy. Keep the messaging clear, concise and to the point.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6F2712F-0BAD-3D43-AA96-DAC8654C441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343900" y="5158432"/>
            <a:ext cx="3200400" cy="586732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Body copy. Keep the messaging clear, concise and to the point.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707704E5-505F-E644-8B15-34742134EA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739B3E2D-28D6-FC4F-A2A2-C7D08171629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add a footnote for this page or delete placeholder if not in us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36F5F35-DBF5-C84A-BD5D-8F32E68A84A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F50F76B-FA29-B84B-8387-E972C023858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47700" y="1729029"/>
            <a:ext cx="3195638" cy="401613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073932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2421">
          <p15:clr>
            <a:srgbClr val="FBAE40"/>
          </p15:clr>
        </p15:guide>
        <p15:guide id="5" pos="2826">
          <p15:clr>
            <a:srgbClr val="FBAE40"/>
          </p15:clr>
        </p15:guide>
        <p15:guide id="6" pos="4849">
          <p15:clr>
            <a:srgbClr val="FBAE40"/>
          </p15:clr>
        </p15:guide>
        <p15:guide id="8" pos="5254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2D978A-4E91-7243-A687-476C0D745A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able title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8DD65DAE-F216-2E49-ACAE-54335084F531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40080" y="1719072"/>
            <a:ext cx="10902950" cy="4026091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47BB281B-EE6E-F544-82BA-54DA61494E1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add a footnote for this page or delete placeholder if not in us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329D87B-3C1F-B940-B037-28498C722E9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26691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3056A7-D588-4A4A-9743-81A8FDEA06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B63015DA-BAD6-D641-B5F3-2ED5079D3C9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 b="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add a footnote for this page or delete placeholder if not in us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0E5473F-D95C-3441-AFDD-17B10876114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15817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01">
          <p15:clr>
            <a:srgbClr val="FBAE40"/>
          </p15:clr>
        </p15:guide>
        <p15:guide id="3" pos="7274">
          <p15:clr>
            <a:srgbClr val="FBAE40"/>
          </p15:clr>
        </p15:guide>
      </p15:sldGuideLst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1">
            <a:extLst>
              <a:ext uri="{FF2B5EF4-FFF2-40B4-BE49-F238E27FC236}">
                <a16:creationId xmlns:a16="http://schemas.microsoft.com/office/drawing/2014/main" id="{15F6962C-2D7D-9C4E-A349-25554E83F8B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add a footnote for this page or delete placeholder if not in us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E169E62-1DA9-CD45-BB12-5DDC2926A42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6383749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E24406D9-1546-F048-999E-B1C3935E3C50}"/>
              </a:ext>
            </a:extLst>
          </p:cNvPr>
          <p:cNvGrpSpPr/>
          <p:nvPr/>
        </p:nvGrpSpPr>
        <p:grpSpPr>
          <a:xfrm>
            <a:off x="8157625" y="524289"/>
            <a:ext cx="4034375" cy="5796153"/>
            <a:chOff x="7627349" y="524289"/>
            <a:chExt cx="4034375" cy="5796153"/>
          </a:xfrm>
          <a:solidFill>
            <a:schemeClr val="bg1"/>
          </a:solidFill>
        </p:grpSpPr>
        <p:sp>
          <p:nvSpPr>
            <p:cNvPr id="4" name="Freeform 3">
              <a:extLst>
                <a:ext uri="{FF2B5EF4-FFF2-40B4-BE49-F238E27FC236}">
                  <a16:creationId xmlns:a16="http://schemas.microsoft.com/office/drawing/2014/main" id="{D84C793A-4639-4F48-91B8-FD66287147D7}"/>
                </a:ext>
              </a:extLst>
            </p:cNvPr>
            <p:cNvSpPr/>
            <p:nvPr/>
          </p:nvSpPr>
          <p:spPr>
            <a:xfrm>
              <a:off x="7627349" y="2695674"/>
              <a:ext cx="541849" cy="1751874"/>
            </a:xfrm>
            <a:custGeom>
              <a:avLst/>
              <a:gdLst>
                <a:gd name="connsiteX0" fmla="*/ 541850 w 541849"/>
                <a:gd name="connsiteY0" fmla="*/ 0 h 1751874"/>
                <a:gd name="connsiteX1" fmla="*/ 0 w 541849"/>
                <a:gd name="connsiteY1" fmla="*/ 0 h 1751874"/>
                <a:gd name="connsiteX2" fmla="*/ 0 w 541849"/>
                <a:gd name="connsiteY2" fmla="*/ 919195 h 1751874"/>
                <a:gd name="connsiteX3" fmla="*/ 0 w 541849"/>
                <a:gd name="connsiteY3" fmla="*/ 1751874 h 1751874"/>
                <a:gd name="connsiteX4" fmla="*/ 541850 w 541849"/>
                <a:gd name="connsiteY4" fmla="*/ 1751874 h 1751874"/>
                <a:gd name="connsiteX5" fmla="*/ 541850 w 541849"/>
                <a:gd name="connsiteY5" fmla="*/ 0 h 1751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1849" h="1751874">
                  <a:moveTo>
                    <a:pt x="541850" y="0"/>
                  </a:moveTo>
                  <a:lnTo>
                    <a:pt x="0" y="0"/>
                  </a:lnTo>
                  <a:lnTo>
                    <a:pt x="0" y="919195"/>
                  </a:lnTo>
                  <a:lnTo>
                    <a:pt x="0" y="1751874"/>
                  </a:lnTo>
                  <a:lnTo>
                    <a:pt x="541850" y="1751874"/>
                  </a:lnTo>
                  <a:lnTo>
                    <a:pt x="541850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D7DF4404-7F59-6C45-BC46-3436E9AA2E4D}"/>
                </a:ext>
              </a:extLst>
            </p:cNvPr>
            <p:cNvSpPr/>
            <p:nvPr/>
          </p:nvSpPr>
          <p:spPr>
            <a:xfrm>
              <a:off x="8791354" y="2695674"/>
              <a:ext cx="541849" cy="1751874"/>
            </a:xfrm>
            <a:custGeom>
              <a:avLst/>
              <a:gdLst>
                <a:gd name="connsiteX0" fmla="*/ 0 w 541849"/>
                <a:gd name="connsiteY0" fmla="*/ 0 h 1751874"/>
                <a:gd name="connsiteX1" fmla="*/ 0 w 541849"/>
                <a:gd name="connsiteY1" fmla="*/ 919195 h 1751874"/>
                <a:gd name="connsiteX2" fmla="*/ 0 w 541849"/>
                <a:gd name="connsiteY2" fmla="*/ 1751874 h 1751874"/>
                <a:gd name="connsiteX3" fmla="*/ 541850 w 541849"/>
                <a:gd name="connsiteY3" fmla="*/ 1751874 h 1751874"/>
                <a:gd name="connsiteX4" fmla="*/ 541850 w 541849"/>
                <a:gd name="connsiteY4" fmla="*/ 0 h 1751874"/>
                <a:gd name="connsiteX5" fmla="*/ 0 w 541849"/>
                <a:gd name="connsiteY5" fmla="*/ 0 h 1751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1849" h="1751874">
                  <a:moveTo>
                    <a:pt x="0" y="0"/>
                  </a:moveTo>
                  <a:lnTo>
                    <a:pt x="0" y="919195"/>
                  </a:lnTo>
                  <a:lnTo>
                    <a:pt x="0" y="1751874"/>
                  </a:lnTo>
                  <a:lnTo>
                    <a:pt x="541850" y="1751874"/>
                  </a:lnTo>
                  <a:lnTo>
                    <a:pt x="54185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54618A3F-A28E-5C47-B782-E34CDA443E92}"/>
                </a:ext>
              </a:extLst>
            </p:cNvPr>
            <p:cNvSpPr/>
            <p:nvPr/>
          </p:nvSpPr>
          <p:spPr>
            <a:xfrm>
              <a:off x="9955360" y="2695674"/>
              <a:ext cx="541849" cy="1751874"/>
            </a:xfrm>
            <a:custGeom>
              <a:avLst/>
              <a:gdLst>
                <a:gd name="connsiteX0" fmla="*/ 0 w 541849"/>
                <a:gd name="connsiteY0" fmla="*/ 0 h 1751874"/>
                <a:gd name="connsiteX1" fmla="*/ 0 w 541849"/>
                <a:gd name="connsiteY1" fmla="*/ 919195 h 1751874"/>
                <a:gd name="connsiteX2" fmla="*/ 0 w 541849"/>
                <a:gd name="connsiteY2" fmla="*/ 1751874 h 1751874"/>
                <a:gd name="connsiteX3" fmla="*/ 541850 w 541849"/>
                <a:gd name="connsiteY3" fmla="*/ 1751874 h 1751874"/>
                <a:gd name="connsiteX4" fmla="*/ 541850 w 541849"/>
                <a:gd name="connsiteY4" fmla="*/ 0 h 1751874"/>
                <a:gd name="connsiteX5" fmla="*/ 0 w 541849"/>
                <a:gd name="connsiteY5" fmla="*/ 0 h 1751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1849" h="1751874">
                  <a:moveTo>
                    <a:pt x="0" y="0"/>
                  </a:moveTo>
                  <a:lnTo>
                    <a:pt x="0" y="919195"/>
                  </a:lnTo>
                  <a:lnTo>
                    <a:pt x="0" y="1751874"/>
                  </a:lnTo>
                  <a:lnTo>
                    <a:pt x="541850" y="1751874"/>
                  </a:lnTo>
                  <a:lnTo>
                    <a:pt x="54185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98396A27-49EC-F348-860F-8E26802DC608}"/>
                </a:ext>
              </a:extLst>
            </p:cNvPr>
            <p:cNvSpPr/>
            <p:nvPr/>
          </p:nvSpPr>
          <p:spPr>
            <a:xfrm>
              <a:off x="7627349" y="1874158"/>
              <a:ext cx="4033867" cy="493467"/>
            </a:xfrm>
            <a:custGeom>
              <a:avLst/>
              <a:gdLst>
                <a:gd name="connsiteX0" fmla="*/ 0 w 4033867"/>
                <a:gd name="connsiteY0" fmla="*/ 493468 h 493467"/>
                <a:gd name="connsiteX1" fmla="*/ 2016934 w 4033867"/>
                <a:gd name="connsiteY1" fmla="*/ 493468 h 493467"/>
                <a:gd name="connsiteX2" fmla="*/ 4033868 w 4033867"/>
                <a:gd name="connsiteY2" fmla="*/ 493468 h 493467"/>
                <a:gd name="connsiteX3" fmla="*/ 4033868 w 4033867"/>
                <a:gd name="connsiteY3" fmla="*/ 0 h 493467"/>
                <a:gd name="connsiteX4" fmla="*/ 0 w 4033867"/>
                <a:gd name="connsiteY4" fmla="*/ 0 h 493467"/>
                <a:gd name="connsiteX5" fmla="*/ 0 w 4033867"/>
                <a:gd name="connsiteY5" fmla="*/ 493468 h 49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33867" h="493467">
                  <a:moveTo>
                    <a:pt x="0" y="493468"/>
                  </a:moveTo>
                  <a:lnTo>
                    <a:pt x="2016934" y="493468"/>
                  </a:lnTo>
                  <a:lnTo>
                    <a:pt x="4033868" y="493468"/>
                  </a:lnTo>
                  <a:lnTo>
                    <a:pt x="4033868" y="0"/>
                  </a:lnTo>
                  <a:lnTo>
                    <a:pt x="0" y="0"/>
                  </a:lnTo>
                  <a:lnTo>
                    <a:pt x="0" y="493468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9ACD75FE-FCEC-BF4D-91B4-4520B4DB5F1E}"/>
                </a:ext>
              </a:extLst>
            </p:cNvPr>
            <p:cNvSpPr/>
            <p:nvPr/>
          </p:nvSpPr>
          <p:spPr>
            <a:xfrm>
              <a:off x="7627349" y="524289"/>
              <a:ext cx="4033867" cy="1181785"/>
            </a:xfrm>
            <a:custGeom>
              <a:avLst/>
              <a:gdLst>
                <a:gd name="connsiteX0" fmla="*/ 2016934 w 4033867"/>
                <a:gd name="connsiteY0" fmla="*/ 0 h 1181785"/>
                <a:gd name="connsiteX1" fmla="*/ 0 w 4033867"/>
                <a:gd name="connsiteY1" fmla="*/ 672207 h 1181785"/>
                <a:gd name="connsiteX2" fmla="*/ 0 w 4033867"/>
                <a:gd name="connsiteY2" fmla="*/ 1181786 h 1181785"/>
                <a:gd name="connsiteX3" fmla="*/ 2016934 w 4033867"/>
                <a:gd name="connsiteY3" fmla="*/ 509579 h 1181785"/>
                <a:gd name="connsiteX4" fmla="*/ 4033868 w 4033867"/>
                <a:gd name="connsiteY4" fmla="*/ 1181786 h 1181785"/>
                <a:gd name="connsiteX5" fmla="*/ 4033868 w 4033867"/>
                <a:gd name="connsiteY5" fmla="*/ 672207 h 1181785"/>
                <a:gd name="connsiteX6" fmla="*/ 2016934 w 4033867"/>
                <a:gd name="connsiteY6" fmla="*/ 0 h 1181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33867" h="1181785">
                  <a:moveTo>
                    <a:pt x="2016934" y="0"/>
                  </a:moveTo>
                  <a:lnTo>
                    <a:pt x="0" y="672207"/>
                  </a:lnTo>
                  <a:lnTo>
                    <a:pt x="0" y="1181786"/>
                  </a:lnTo>
                  <a:lnTo>
                    <a:pt x="2016934" y="509579"/>
                  </a:lnTo>
                  <a:lnTo>
                    <a:pt x="4033868" y="1181786"/>
                  </a:lnTo>
                  <a:lnTo>
                    <a:pt x="4033868" y="672207"/>
                  </a:lnTo>
                  <a:lnTo>
                    <a:pt x="2016934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8FC8E4B5-0CBF-864B-9110-D197114B5BD8}"/>
                </a:ext>
              </a:extLst>
            </p:cNvPr>
            <p:cNvSpPr/>
            <p:nvPr/>
          </p:nvSpPr>
          <p:spPr>
            <a:xfrm>
              <a:off x="7627349" y="4408604"/>
              <a:ext cx="4034375" cy="1071548"/>
            </a:xfrm>
            <a:custGeom>
              <a:avLst/>
              <a:gdLst>
                <a:gd name="connsiteX0" fmla="*/ 4034375 w 4034375"/>
                <a:gd name="connsiteY0" fmla="*/ 0 h 1071548"/>
                <a:gd name="connsiteX1" fmla="*/ 2540261 w 4034375"/>
                <a:gd name="connsiteY1" fmla="*/ 366993 h 1071548"/>
                <a:gd name="connsiteX2" fmla="*/ 1493988 w 4034375"/>
                <a:gd name="connsiteY2" fmla="*/ 366993 h 1071548"/>
                <a:gd name="connsiteX3" fmla="*/ 0 w 4034375"/>
                <a:gd name="connsiteY3" fmla="*/ 567298 h 1071548"/>
                <a:gd name="connsiteX4" fmla="*/ 0 w 4034375"/>
                <a:gd name="connsiteY4" fmla="*/ 1071548 h 1071548"/>
                <a:gd name="connsiteX5" fmla="*/ 1493988 w 4034375"/>
                <a:gd name="connsiteY5" fmla="*/ 871116 h 1071548"/>
                <a:gd name="connsiteX6" fmla="*/ 2539753 w 4034375"/>
                <a:gd name="connsiteY6" fmla="*/ 871116 h 1071548"/>
                <a:gd name="connsiteX7" fmla="*/ 4033868 w 4034375"/>
                <a:gd name="connsiteY7" fmla="*/ 504124 h 1071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34375" h="1071548">
                  <a:moveTo>
                    <a:pt x="4034375" y="0"/>
                  </a:moveTo>
                  <a:cubicBezTo>
                    <a:pt x="4023591" y="29557"/>
                    <a:pt x="3828089" y="366993"/>
                    <a:pt x="2540261" y="366993"/>
                  </a:cubicBezTo>
                  <a:lnTo>
                    <a:pt x="1493988" y="366993"/>
                  </a:lnTo>
                  <a:cubicBezTo>
                    <a:pt x="173174" y="377141"/>
                    <a:pt x="25373" y="549031"/>
                    <a:pt x="0" y="567298"/>
                  </a:cubicBezTo>
                  <a:lnTo>
                    <a:pt x="0" y="1071548"/>
                  </a:lnTo>
                  <a:cubicBezTo>
                    <a:pt x="25373" y="1053154"/>
                    <a:pt x="173174" y="881265"/>
                    <a:pt x="1493988" y="871116"/>
                  </a:cubicBezTo>
                  <a:lnTo>
                    <a:pt x="2539753" y="871116"/>
                  </a:lnTo>
                  <a:cubicBezTo>
                    <a:pt x="3827582" y="871116"/>
                    <a:pt x="4023084" y="533808"/>
                    <a:pt x="4033868" y="504124"/>
                  </a:cubicBez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9DFD3E64-0D9B-8344-AE26-7E6565667679}"/>
                </a:ext>
              </a:extLst>
            </p:cNvPr>
            <p:cNvSpPr/>
            <p:nvPr/>
          </p:nvSpPr>
          <p:spPr>
            <a:xfrm>
              <a:off x="7627349" y="5248894"/>
              <a:ext cx="4034375" cy="1071548"/>
            </a:xfrm>
            <a:custGeom>
              <a:avLst/>
              <a:gdLst>
                <a:gd name="connsiteX0" fmla="*/ 4034375 w 4034375"/>
                <a:gd name="connsiteY0" fmla="*/ 0 h 1071548"/>
                <a:gd name="connsiteX1" fmla="*/ 2540261 w 4034375"/>
                <a:gd name="connsiteY1" fmla="*/ 366993 h 1071548"/>
                <a:gd name="connsiteX2" fmla="*/ 1493988 w 4034375"/>
                <a:gd name="connsiteY2" fmla="*/ 366993 h 1071548"/>
                <a:gd name="connsiteX3" fmla="*/ 0 w 4034375"/>
                <a:gd name="connsiteY3" fmla="*/ 567298 h 1071548"/>
                <a:gd name="connsiteX4" fmla="*/ 0 w 4034375"/>
                <a:gd name="connsiteY4" fmla="*/ 1071548 h 1071548"/>
                <a:gd name="connsiteX5" fmla="*/ 1493988 w 4034375"/>
                <a:gd name="connsiteY5" fmla="*/ 871243 h 1071548"/>
                <a:gd name="connsiteX6" fmla="*/ 2539753 w 4034375"/>
                <a:gd name="connsiteY6" fmla="*/ 871243 h 1071548"/>
                <a:gd name="connsiteX7" fmla="*/ 4033868 w 4034375"/>
                <a:gd name="connsiteY7" fmla="*/ 504124 h 1071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34375" h="1071548">
                  <a:moveTo>
                    <a:pt x="4034375" y="0"/>
                  </a:moveTo>
                  <a:cubicBezTo>
                    <a:pt x="4023591" y="29684"/>
                    <a:pt x="3828089" y="366993"/>
                    <a:pt x="2540261" y="366993"/>
                  </a:cubicBezTo>
                  <a:lnTo>
                    <a:pt x="1493988" y="366993"/>
                  </a:lnTo>
                  <a:cubicBezTo>
                    <a:pt x="173174" y="377142"/>
                    <a:pt x="25373" y="549031"/>
                    <a:pt x="0" y="567298"/>
                  </a:cubicBezTo>
                  <a:lnTo>
                    <a:pt x="0" y="1071548"/>
                  </a:lnTo>
                  <a:cubicBezTo>
                    <a:pt x="25373" y="1053154"/>
                    <a:pt x="173174" y="881265"/>
                    <a:pt x="1493988" y="871243"/>
                  </a:cubicBezTo>
                  <a:lnTo>
                    <a:pt x="2539753" y="871243"/>
                  </a:lnTo>
                  <a:cubicBezTo>
                    <a:pt x="3827582" y="871243"/>
                    <a:pt x="4023084" y="533808"/>
                    <a:pt x="4033868" y="504124"/>
                  </a:cubicBez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9A52CD8B-2E97-4342-8DBF-61223C03F534}"/>
                </a:ext>
              </a:extLst>
            </p:cNvPr>
            <p:cNvSpPr/>
            <p:nvPr/>
          </p:nvSpPr>
          <p:spPr>
            <a:xfrm>
              <a:off x="11119366" y="2695674"/>
              <a:ext cx="541849" cy="1661807"/>
            </a:xfrm>
            <a:custGeom>
              <a:avLst/>
              <a:gdLst>
                <a:gd name="connsiteX0" fmla="*/ 0 w 541849"/>
                <a:gd name="connsiteY0" fmla="*/ 0 h 1661807"/>
                <a:gd name="connsiteX1" fmla="*/ 0 w 541849"/>
                <a:gd name="connsiteY1" fmla="*/ 1661807 h 1661807"/>
                <a:gd name="connsiteX2" fmla="*/ 541849 w 541849"/>
                <a:gd name="connsiteY2" fmla="*/ 1382725 h 1661807"/>
                <a:gd name="connsiteX3" fmla="*/ 541849 w 541849"/>
                <a:gd name="connsiteY3" fmla="*/ 0 h 1661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1849" h="1661807">
                  <a:moveTo>
                    <a:pt x="0" y="0"/>
                  </a:moveTo>
                  <a:lnTo>
                    <a:pt x="0" y="1661807"/>
                  </a:lnTo>
                  <a:cubicBezTo>
                    <a:pt x="444035" y="1559688"/>
                    <a:pt x="534618" y="1402261"/>
                    <a:pt x="541849" y="1382725"/>
                  </a:cubicBezTo>
                  <a:lnTo>
                    <a:pt x="541849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CB71193-550B-4245-9C3C-F188194A2A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080" y="1892808"/>
            <a:ext cx="7315200" cy="2852737"/>
          </a:xfrm>
        </p:spPr>
        <p:txBody>
          <a:bodyPr anchor="ctr"/>
          <a:lstStyle>
            <a:lvl1pPr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divider</a:t>
            </a:r>
          </a:p>
        </p:txBody>
      </p:sp>
    </p:spTree>
    <p:extLst>
      <p:ext uri="{BB962C8B-B14F-4D97-AF65-F5344CB8AC3E}">
        <p14:creationId xmlns:p14="http://schemas.microsoft.com/office/powerpoint/2010/main" val="2968466061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71193-550B-4245-9C3C-F188194A2A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70432" y="1920240"/>
            <a:ext cx="7444408" cy="2576378"/>
          </a:xfrm>
        </p:spPr>
        <p:txBody>
          <a:bodyPr anchor="ctr"/>
          <a:lstStyle>
            <a:lvl1pPr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quot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042999A3-BC06-724D-AB6B-6565ED0B151D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170432" y="4626864"/>
            <a:ext cx="3657599" cy="914401"/>
          </a:xfrm>
        </p:spPr>
        <p:txBody>
          <a:bodyPr/>
          <a:lstStyle>
            <a:lvl1pPr marL="0" indent="0">
              <a:buNone/>
              <a:defRPr sz="22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en-US"/>
              <a:t>Author of quot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563A591-BBA0-C146-B4F7-E675205282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0516746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oi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71193-550B-4245-9C3C-F188194A2A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080" y="1796841"/>
            <a:ext cx="10911840" cy="2852737"/>
          </a:xfrm>
        </p:spPr>
        <p:txBody>
          <a:bodyPr anchor="ctr"/>
          <a:lstStyle>
            <a:lvl1pPr>
              <a:lnSpc>
                <a:spcPct val="100000"/>
              </a:lnSpc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/>
              <a:t>Factoid teal—Georgia font in sentence case. Use this slide for hero statement.</a:t>
            </a:r>
          </a:p>
        </p:txBody>
      </p:sp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0A040A92-7E8A-6B43-AD38-D5F4F6C96A8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add a footnote for this page or delete placeholder if not in us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36BDDC8-3CC6-624A-9AFB-E2F2B73BA96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3550180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ack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8020C179-BE0C-9D49-90D3-2A15CB49F2C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197352" y="3027076"/>
            <a:ext cx="5797296" cy="803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3647649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1111079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08D9EF-FF85-4EC4-81D5-B994CAB412E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3547592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3BCC1D-D3C6-4286-988C-4F8BBCBCCA96}" type="datetimeFigureOut">
              <a:rPr lang="en-US" smtClean="0"/>
              <a:t>11/21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08D9EF-FF85-4EC4-81D5-B994CAB412E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10867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6E72C7-33EA-413F-8E21-7FD2D1F68F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AF7CBE-E185-48BB-B4A5-606B47F24F9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FD632B1-F4A7-4BE6-8212-EEA2C9F6AE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3E8233-3406-4DA4-B1A7-0D1EF51F0BDA}" type="datetimeFigureOut">
              <a:rPr lang="en-US" smtClean="0"/>
              <a:t>11/21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E098041-A9DA-405E-A561-2D56266216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358C479-9569-4E6D-86BE-845AECCD5B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91C937-4A66-4F34-97D6-A399595905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3053340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1111079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2581517"/>
            <a:ext cx="10515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2998878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A01D7C-17D8-4896-98E4-E72ADBAA4C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1" y="1709739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13EA49D-EA8E-49A9-A6EB-17AFF164588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1" y="458946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6885B79-C207-46CF-8D73-898D793E7A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3E8233-3406-4DA4-B1A7-0D1EF51F0BDA}" type="datetimeFigureOut">
              <a:rPr lang="en-US" smtClean="0"/>
              <a:t>11/21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C93642-CA9B-430D-BFA6-DE350B7821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18EA32-14FB-4AFC-8438-7C998B82F4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91C937-4A66-4F34-97D6-A399595905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769198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642F10-526D-4261-BAA5-C52CBE4E7B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85109E7-5104-48B8-88C9-726DD03FA29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5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9B5E2D2-6F4B-4C06-8F13-2161B36C50E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97600" y="1825625"/>
            <a:ext cx="515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C30003F-5BA2-46CA-A819-EA0A184CA4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3E8233-3406-4DA4-B1A7-0D1EF51F0BDA}" type="datetimeFigureOut">
              <a:rPr lang="en-US" smtClean="0"/>
              <a:t>11/21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CD32AFD-FD23-4BF4-9AE5-F6449DEDEA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BD95F66-3C6F-42C6-99DD-53D9F5BC2B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91C937-4A66-4F34-97D6-A399595905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259861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A47B3E-8CFC-4C1C-95B0-A816713613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0317" y="365126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04CEF9-E296-4299-B069-0EE2BACDD2B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40318" y="1681163"/>
            <a:ext cx="5158316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992BF8B-B979-4686-A0D0-E450873F606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40318" y="2505075"/>
            <a:ext cx="5158316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0301A73-FD99-48F0-A66C-22881F615FC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71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11AAB9D-35BE-4A59-866E-0CDF73457D5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71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E19D08-8328-4872-9E2D-7336B7677A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3E8233-3406-4DA4-B1A7-0D1EF51F0BDA}" type="datetimeFigureOut">
              <a:rPr lang="en-US" smtClean="0"/>
              <a:t>11/21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1F88B7A-05B1-4914-81AF-AC5D1B0C1B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99A2D5F-5E10-4E37-836D-8194FA2C94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91C937-4A66-4F34-97D6-A399595905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124066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809E49-BEE9-431B-92E0-D218477C37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6F14727-60C8-44B1-AC2E-CB9B857949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3E8233-3406-4DA4-B1A7-0D1EF51F0BDA}" type="datetimeFigureOut">
              <a:rPr lang="en-US" smtClean="0"/>
              <a:t>11/21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3BA6192-CD34-4F6C-BDC9-78721BD6C9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C71A456-1EDE-472D-B3E2-3E9A05065A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91C937-4A66-4F34-97D6-A399595905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264517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61D271C-DFFA-4726-BB63-62686D9B71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3E8233-3406-4DA4-B1A7-0D1EF51F0BDA}" type="datetimeFigureOut">
              <a:rPr lang="en-US" smtClean="0"/>
              <a:t>11/21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CFCA092-6C4D-4B07-9464-07A49421E4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7F69F82-0E0A-47CC-AA40-E58218CB45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91C937-4A66-4F34-97D6-A399595905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630024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C5F015-186E-42FF-BA24-750F5FCB6F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0318" y="457200"/>
            <a:ext cx="393276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C888813-91DF-4D22-A184-CFC1E35798B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717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03A1111-24E2-443B-B427-7A84631CC40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40318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A581E71-E7C1-4B06-A8A9-ACFBA43F40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3E8233-3406-4DA4-B1A7-0D1EF51F0BDA}" type="datetimeFigureOut">
              <a:rPr lang="en-US" smtClean="0"/>
              <a:t>11/21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82182C5-A695-401C-8036-1FE74699D6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1D9AF56-CE87-4C3C-B3FE-FD47CB96A8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91C937-4A66-4F34-97D6-A399595905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39580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C2B2C4A4-27A2-4287-A3E0-00E9520173BE}" type="datetime1">
              <a:rPr lang="en-US" smtClean="0"/>
              <a:t>11/2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41100" y="6356351"/>
            <a:ext cx="749301" cy="365125"/>
          </a:xfrm>
          <a:prstGeom prst="rect">
            <a:avLst/>
          </a:prstGeom>
        </p:spPr>
        <p:txBody>
          <a:bodyPr/>
          <a:lstStyle/>
          <a:p>
            <a:fld id="{1525C0F7-8877-4DF7-9DDC-7358225ABBA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503101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9DBA26-0958-45E9-80C6-74C85A1016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0318" y="457200"/>
            <a:ext cx="393276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92095E4-655C-4AEA-A3F0-D3976604053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717" y="987426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240BEBB-6EC6-40D1-9C7E-E7AF9E2395F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40318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5F17D78-E126-427A-8FC6-BCFEC32474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3E8233-3406-4DA4-B1A7-0D1EF51F0BDA}" type="datetimeFigureOut">
              <a:rPr lang="en-US" smtClean="0"/>
              <a:t>11/21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9034905-C5BF-4569-9BF3-52C8877A72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B50C4B8-A244-4E31-942E-055A67D320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91C937-4A66-4F34-97D6-A399595905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251808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CF0BFE-9DD7-4A82-9097-827A991C70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C1D0A68-EF59-4656-B0E5-13D7CB96012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1882A8F-0779-4F49-A4F1-07BA8F76FB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3E8233-3406-4DA4-B1A7-0D1EF51F0BDA}" type="datetimeFigureOut">
              <a:rPr lang="en-US" smtClean="0"/>
              <a:t>11/21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78DA37-8049-490E-9600-EBAB52781A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77BDD14-B535-4EA3-8A2D-6688417E61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91C937-4A66-4F34-97D6-A399595905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294731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ECAF935-16ED-4C04-AFF0-F5D79FD043B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1B6FB41-1C5B-4E9B-9E86-38D3CC4C0BA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6835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A536798-29B6-4562-9ACD-27A3540EB7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3E8233-3406-4DA4-B1A7-0D1EF51F0BDA}" type="datetimeFigureOut">
              <a:rPr lang="en-US" smtClean="0"/>
              <a:t>11/21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A833FB1-08CB-4616-AC57-611BEF1E0B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737E6AE-8CC9-4F1A-89FA-5EC8644B87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91C937-4A66-4F34-97D6-A399595905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66481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258385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8A2D3A77-0D0E-425A-8FCE-1E2011D200D8}" type="datetime1">
              <a:rPr lang="en-US" smtClean="0"/>
              <a:t>11/2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1525C0F7-8877-4DF7-9DDC-7358225ABB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497556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E4E7FF0-082F-494F-AE77-37FDED2A2B62}" type="datetime1">
              <a:rPr lang="en-US" smtClean="0"/>
              <a:t>11/2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1525C0F7-8877-4DF7-9DDC-7358225ABB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242584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39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219071FD-AE70-48B0-9E10-B25A09946277}" type="datetime1">
              <a:rPr lang="en-US" smtClean="0"/>
              <a:t>11/2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1525C0F7-8877-4DF7-9DDC-7358225ABB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45264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5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825625"/>
            <a:ext cx="515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872082E8-913C-47BC-9B7B-5D1BCA096780}" type="datetime1">
              <a:rPr lang="en-US" smtClean="0"/>
              <a:t>11/21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1525C0F7-8877-4DF7-9DDC-7358225ABB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212681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317" y="365126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0318" y="1681163"/>
            <a:ext cx="5158316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40318" y="2505075"/>
            <a:ext cx="5158316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71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71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11075445-E6C2-4FB7-A2BA-17C669E03FEF}" type="datetime1">
              <a:rPr lang="en-US" smtClean="0"/>
              <a:t>11/21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1525C0F7-8877-4DF7-9DDC-7358225ABB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864277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D2BA4920-827F-4967-86AA-2665C6B1C927}" type="datetime1">
              <a:rPr lang="en-US" smtClean="0"/>
              <a:t>11/21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1525C0F7-8877-4DF7-9DDC-7358225ABB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74991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39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65460F34-DFF8-429E-95B0-9DB0E154EEBC}" type="datetime1">
              <a:rPr lang="en-US" smtClean="0"/>
              <a:t>11/2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41100" y="6356351"/>
            <a:ext cx="749301" cy="365125"/>
          </a:xfrm>
          <a:prstGeom prst="rect">
            <a:avLst/>
          </a:prstGeom>
        </p:spPr>
        <p:txBody>
          <a:bodyPr/>
          <a:lstStyle/>
          <a:p>
            <a:fld id="{1525C0F7-8877-4DF7-9DDC-7358225ABBA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681750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A67C27A2-8395-4DB5-B7FE-0AFCFD5DC07C}" type="datetime1">
              <a:rPr lang="en-US" smtClean="0"/>
              <a:t>11/21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1525C0F7-8877-4DF7-9DDC-7358225ABB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338075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318" y="457200"/>
            <a:ext cx="393276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717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0318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5B233573-48E3-4103-89A1-3A0296F92A94}" type="datetime1">
              <a:rPr lang="en-US" smtClean="0"/>
              <a:t>11/21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1525C0F7-8877-4DF7-9DDC-7358225ABB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762830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318" y="457200"/>
            <a:ext cx="393276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717" y="987426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0318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2A273088-5DA0-4671-9830-D6FEECA530E5}" type="datetime1">
              <a:rPr lang="en-US" smtClean="0"/>
              <a:t>11/21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1525C0F7-8877-4DF7-9DDC-7358225ABB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661412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39E14CF2-2770-4E23-B5B0-23D126D30EFF}" type="datetime1">
              <a:rPr lang="en-US" smtClean="0"/>
              <a:t>11/2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1525C0F7-8877-4DF7-9DDC-7358225ABB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380173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6835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601DED67-81A2-467F-8F56-4519FB92639E}" type="datetime1">
              <a:rPr lang="en-US" smtClean="0"/>
              <a:t>11/2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1525C0F7-8877-4DF7-9DDC-7358225ABB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347616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C37ECC3E-D02A-471E-B663-901EB3E42E3F}" type="datetime1">
              <a:rPr lang="en-US" smtClean="0"/>
              <a:t>11/2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41100" y="6356351"/>
            <a:ext cx="749301" cy="365125"/>
          </a:xfrm>
          <a:prstGeom prst="rect">
            <a:avLst/>
          </a:prstGeom>
        </p:spPr>
        <p:txBody>
          <a:bodyPr/>
          <a:lstStyle/>
          <a:p>
            <a:fld id="{1525C0F7-8877-4DF7-9DDC-7358225ABBA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663356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1990C43E-856D-456D-BD00-35547566DE1E}" type="datetime1">
              <a:rPr lang="en-US" smtClean="0"/>
              <a:t>11/2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41100" y="6356351"/>
            <a:ext cx="749301" cy="365125"/>
          </a:xfrm>
          <a:prstGeom prst="rect">
            <a:avLst/>
          </a:prstGeom>
        </p:spPr>
        <p:txBody>
          <a:bodyPr/>
          <a:lstStyle/>
          <a:p>
            <a:fld id="{1525C0F7-8877-4DF7-9DDC-7358225ABBA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786051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39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799F52FA-6EF0-4D79-AD28-44D4FA78F24C}" type="datetime1">
              <a:rPr lang="en-US" smtClean="0"/>
              <a:t>11/2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41100" y="6356351"/>
            <a:ext cx="749301" cy="365125"/>
          </a:xfrm>
          <a:prstGeom prst="rect">
            <a:avLst/>
          </a:prstGeom>
        </p:spPr>
        <p:txBody>
          <a:bodyPr/>
          <a:lstStyle/>
          <a:p>
            <a:fld id="{1525C0F7-8877-4DF7-9DDC-7358225ABBA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466536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5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825625"/>
            <a:ext cx="515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D159E7D7-5160-48A1-9DB9-8934885B53C2}" type="datetime1">
              <a:rPr lang="en-US" smtClean="0"/>
              <a:t>11/21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41100" y="6356351"/>
            <a:ext cx="749301" cy="365125"/>
          </a:xfrm>
          <a:prstGeom prst="rect">
            <a:avLst/>
          </a:prstGeom>
        </p:spPr>
        <p:txBody>
          <a:bodyPr/>
          <a:lstStyle/>
          <a:p>
            <a:fld id="{1525C0F7-8877-4DF7-9DDC-7358225ABBA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545321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317" y="365126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0318" y="1681163"/>
            <a:ext cx="5158316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40318" y="2505075"/>
            <a:ext cx="5158316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71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71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D3128A0-EDCA-419E-9545-2130DDA74C1F}" type="datetime1">
              <a:rPr lang="en-US" smtClean="0"/>
              <a:t>11/21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41100" y="6356351"/>
            <a:ext cx="749301" cy="365125"/>
          </a:xfrm>
          <a:prstGeom prst="rect">
            <a:avLst/>
          </a:prstGeom>
        </p:spPr>
        <p:txBody>
          <a:bodyPr/>
          <a:lstStyle/>
          <a:p>
            <a:fld id="{1525C0F7-8877-4DF7-9DDC-7358225ABBA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53766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5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825625"/>
            <a:ext cx="515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1FE4D93E-4E4F-47D5-84BE-C1E2E6DC377F}" type="datetime1">
              <a:rPr lang="en-US" smtClean="0"/>
              <a:t>11/21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41100" y="6356351"/>
            <a:ext cx="749301" cy="365125"/>
          </a:xfrm>
          <a:prstGeom prst="rect">
            <a:avLst/>
          </a:prstGeom>
        </p:spPr>
        <p:txBody>
          <a:bodyPr/>
          <a:lstStyle/>
          <a:p>
            <a:fld id="{1525C0F7-8877-4DF7-9DDC-7358225ABBA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710172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DBE0AD2C-092B-4407-AEDA-7687BA06D3AF}" type="datetime1">
              <a:rPr lang="en-US" smtClean="0"/>
              <a:t>11/21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41100" y="6356351"/>
            <a:ext cx="749301" cy="365125"/>
          </a:xfrm>
          <a:prstGeom prst="rect">
            <a:avLst/>
          </a:prstGeom>
        </p:spPr>
        <p:txBody>
          <a:bodyPr/>
          <a:lstStyle/>
          <a:p>
            <a:fld id="{1525C0F7-8877-4DF7-9DDC-7358225ABBA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31513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4B1B6E00-CDF2-499A-9958-DE3F81E9BA47}" type="datetime1">
              <a:rPr lang="en-US" smtClean="0"/>
              <a:t>11/21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41100" y="6356351"/>
            <a:ext cx="749301" cy="365125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fld id="{1525C0F7-8877-4DF7-9DDC-7358225ABBA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936702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318" y="457200"/>
            <a:ext cx="393276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717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0318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F4545858-81C0-4B26-96C6-4CF3810EAE84}" type="datetime1">
              <a:rPr lang="en-US" smtClean="0"/>
              <a:t>11/21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41100" y="6356351"/>
            <a:ext cx="749301" cy="365125"/>
          </a:xfrm>
          <a:prstGeom prst="rect">
            <a:avLst/>
          </a:prstGeom>
        </p:spPr>
        <p:txBody>
          <a:bodyPr/>
          <a:lstStyle/>
          <a:p>
            <a:fld id="{1525C0F7-8877-4DF7-9DDC-7358225ABBA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112390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318" y="457200"/>
            <a:ext cx="393276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717" y="987426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0318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AA190517-9ECF-41A1-B68D-7E854CB92DD2}" type="datetime1">
              <a:rPr lang="en-US" smtClean="0"/>
              <a:t>11/21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41100" y="6356351"/>
            <a:ext cx="749301" cy="365125"/>
          </a:xfrm>
          <a:prstGeom prst="rect">
            <a:avLst/>
          </a:prstGeom>
        </p:spPr>
        <p:txBody>
          <a:bodyPr/>
          <a:lstStyle/>
          <a:p>
            <a:fld id="{1525C0F7-8877-4DF7-9DDC-7358225ABBA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882324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E6DF0F4E-349D-47C5-BD1E-90DB51D58A25}" type="datetime1">
              <a:rPr lang="en-US" smtClean="0"/>
              <a:t>11/2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41100" y="6356351"/>
            <a:ext cx="749301" cy="365125"/>
          </a:xfrm>
          <a:prstGeom prst="rect">
            <a:avLst/>
          </a:prstGeom>
        </p:spPr>
        <p:txBody>
          <a:bodyPr/>
          <a:lstStyle/>
          <a:p>
            <a:fld id="{1525C0F7-8877-4DF7-9DDC-7358225ABBA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589988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6835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FB4FE08A-BF4B-4D80-BDC8-950DDC602FC2}" type="datetime1">
              <a:rPr lang="en-US" smtClean="0"/>
              <a:t>11/2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41100" y="6356351"/>
            <a:ext cx="749301" cy="365125"/>
          </a:xfrm>
          <a:prstGeom prst="rect">
            <a:avLst/>
          </a:prstGeom>
        </p:spPr>
        <p:txBody>
          <a:bodyPr/>
          <a:lstStyle/>
          <a:p>
            <a:fld id="{1525C0F7-8877-4DF7-9DDC-7358225ABBA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590537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3BCC1D-D3C6-4286-988C-4F8BBCBCCA96}" type="datetimeFigureOut">
              <a:rPr lang="en-US" smtClean="0"/>
              <a:t>11/2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08D9EF-FF85-4EC4-81D5-B994CAB412E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591362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1111079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2571578"/>
            <a:ext cx="10515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3BCC1D-D3C6-4286-988C-4F8BBCBCCA96}" type="datetimeFigureOut">
              <a:rPr lang="en-US" smtClean="0"/>
              <a:t>11/2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08D9EF-FF85-4EC4-81D5-B994CAB412E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322644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39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3BCC1D-D3C6-4286-988C-4F8BBCBCCA96}" type="datetimeFigureOut">
              <a:rPr lang="en-US" smtClean="0"/>
              <a:t>11/2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08D9EF-FF85-4EC4-81D5-B994CAB412E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536336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798260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2258759"/>
            <a:ext cx="515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2258759"/>
            <a:ext cx="515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3BCC1D-D3C6-4286-988C-4F8BBCBCCA96}" type="datetimeFigureOut">
              <a:rPr lang="en-US" smtClean="0"/>
              <a:t>11/21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08D9EF-FF85-4EC4-81D5-B994CAB412E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18293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317" y="365126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0318" y="1681163"/>
            <a:ext cx="5158316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40318" y="2505075"/>
            <a:ext cx="5158316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71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71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8861C7F1-BE3C-4008-A07F-8524B5C6FFD9}" type="datetime1">
              <a:rPr lang="en-US" smtClean="0"/>
              <a:t>11/21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41100" y="6356351"/>
            <a:ext cx="749301" cy="365125"/>
          </a:xfrm>
          <a:prstGeom prst="rect">
            <a:avLst/>
          </a:prstGeom>
        </p:spPr>
        <p:txBody>
          <a:bodyPr/>
          <a:lstStyle/>
          <a:p>
            <a:fld id="{1525C0F7-8877-4DF7-9DDC-7358225ABBA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01897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317" y="75815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0318" y="2066171"/>
            <a:ext cx="5158316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40318" y="2898104"/>
            <a:ext cx="5158316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2066171"/>
            <a:ext cx="518371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898104"/>
            <a:ext cx="518371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3BCC1D-D3C6-4286-988C-4F8BBCBCCA96}" type="datetimeFigureOut">
              <a:rPr lang="en-US" smtClean="0"/>
              <a:t>11/21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08D9EF-FF85-4EC4-81D5-B994CAB412E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188916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1175247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3BCC1D-D3C6-4286-988C-4F8BBCBCCA96}" type="datetimeFigureOut">
              <a:rPr lang="en-US" smtClean="0"/>
              <a:t>11/21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08D9EF-FF85-4EC4-81D5-B994CAB412E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311975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3BCC1D-D3C6-4286-988C-4F8BBCBCCA96}" type="datetimeFigureOut">
              <a:rPr lang="en-US" smtClean="0"/>
              <a:t>11/21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08D9EF-FF85-4EC4-81D5-B994CAB412E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309367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318" y="457200"/>
            <a:ext cx="393276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717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0318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3BCC1D-D3C6-4286-988C-4F8BBCBCCA96}" type="datetimeFigureOut">
              <a:rPr lang="en-US" smtClean="0"/>
              <a:t>11/21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08D9EF-FF85-4EC4-81D5-B994CAB412E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583246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318" y="457200"/>
            <a:ext cx="393276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717" y="987426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0318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3BCC1D-D3C6-4286-988C-4F8BBCBCCA96}" type="datetimeFigureOut">
              <a:rPr lang="en-US" smtClean="0"/>
              <a:t>11/21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08D9EF-FF85-4EC4-81D5-B994CAB412E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188462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782221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2242720"/>
            <a:ext cx="10515600" cy="43513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3BCC1D-D3C6-4286-988C-4F8BBCBCCA96}" type="datetimeFigureOut">
              <a:rPr lang="en-US" smtClean="0"/>
              <a:t>11/2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08D9EF-FF85-4EC4-81D5-B994CAB412E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055547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7933668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C37ECC3E-D02A-471E-B663-901EB3E42E3F}" type="datetime1">
              <a:rPr lang="en-US" smtClean="0"/>
              <a:t>11/2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41100" y="6356351"/>
            <a:ext cx="749301" cy="365125"/>
          </a:xfrm>
          <a:prstGeom prst="rect">
            <a:avLst/>
          </a:prstGeom>
        </p:spPr>
        <p:txBody>
          <a:bodyPr/>
          <a:lstStyle/>
          <a:p>
            <a:fld id="{1525C0F7-8877-4DF7-9DDC-7358225ABBA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643416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1990C43E-856D-456D-BD00-35547566DE1E}" type="datetime1">
              <a:rPr lang="en-US" smtClean="0"/>
              <a:t>11/2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41100" y="6356351"/>
            <a:ext cx="749301" cy="365125"/>
          </a:xfrm>
          <a:prstGeom prst="rect">
            <a:avLst/>
          </a:prstGeom>
        </p:spPr>
        <p:txBody>
          <a:bodyPr/>
          <a:lstStyle/>
          <a:p>
            <a:fld id="{1525C0F7-8877-4DF7-9DDC-7358225ABBA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70715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39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799F52FA-6EF0-4D79-AD28-44D4FA78F24C}" type="datetime1">
              <a:rPr lang="en-US" smtClean="0"/>
              <a:t>11/2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41100" y="6356351"/>
            <a:ext cx="749301" cy="365125"/>
          </a:xfrm>
          <a:prstGeom prst="rect">
            <a:avLst/>
          </a:prstGeom>
        </p:spPr>
        <p:txBody>
          <a:bodyPr/>
          <a:lstStyle/>
          <a:p>
            <a:fld id="{1525C0F7-8877-4DF7-9DDC-7358225ABBA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853269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D970B26C-93DF-41C0-9AEF-F033CE98DE26}" type="datetime1">
              <a:rPr lang="en-US" smtClean="0"/>
              <a:t>11/21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41100" y="6356351"/>
            <a:ext cx="749301" cy="365125"/>
          </a:xfrm>
          <a:prstGeom prst="rect">
            <a:avLst/>
          </a:prstGeom>
        </p:spPr>
        <p:txBody>
          <a:bodyPr/>
          <a:lstStyle/>
          <a:p>
            <a:fld id="{1525C0F7-8877-4DF7-9DDC-7358225ABBA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957673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5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825625"/>
            <a:ext cx="515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D159E7D7-5160-48A1-9DB9-8934885B53C2}" type="datetime1">
              <a:rPr lang="en-US" smtClean="0"/>
              <a:t>11/21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41100" y="6356351"/>
            <a:ext cx="749301" cy="365125"/>
          </a:xfrm>
          <a:prstGeom prst="rect">
            <a:avLst/>
          </a:prstGeom>
        </p:spPr>
        <p:txBody>
          <a:bodyPr/>
          <a:lstStyle/>
          <a:p>
            <a:fld id="{1525C0F7-8877-4DF7-9DDC-7358225ABBA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385423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317" y="365126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0318" y="1681163"/>
            <a:ext cx="5158316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40318" y="2505075"/>
            <a:ext cx="5158316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71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71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D3128A0-EDCA-419E-9545-2130DDA74C1F}" type="datetime1">
              <a:rPr lang="en-US" smtClean="0"/>
              <a:t>11/21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41100" y="6356351"/>
            <a:ext cx="749301" cy="365125"/>
          </a:xfrm>
          <a:prstGeom prst="rect">
            <a:avLst/>
          </a:prstGeom>
        </p:spPr>
        <p:txBody>
          <a:bodyPr/>
          <a:lstStyle/>
          <a:p>
            <a:fld id="{1525C0F7-8877-4DF7-9DDC-7358225ABBA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564210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DBE0AD2C-092B-4407-AEDA-7687BA06D3AF}" type="datetime1">
              <a:rPr lang="en-US" smtClean="0"/>
              <a:t>11/21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41100" y="6356351"/>
            <a:ext cx="749301" cy="365125"/>
          </a:xfrm>
          <a:prstGeom prst="rect">
            <a:avLst/>
          </a:prstGeom>
        </p:spPr>
        <p:txBody>
          <a:bodyPr/>
          <a:lstStyle/>
          <a:p>
            <a:fld id="{1525C0F7-8877-4DF7-9DDC-7358225ABBA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481224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4B1B6E00-CDF2-499A-9958-DE3F81E9BA47}" type="datetime1">
              <a:rPr lang="en-US" smtClean="0"/>
              <a:t>11/21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41100" y="6356351"/>
            <a:ext cx="749301" cy="365125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fld id="{1525C0F7-8877-4DF7-9DDC-7358225ABBA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339974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318" y="457200"/>
            <a:ext cx="393276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717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0318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F4545858-81C0-4B26-96C6-4CF3810EAE84}" type="datetime1">
              <a:rPr lang="en-US" smtClean="0"/>
              <a:t>11/21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41100" y="6356351"/>
            <a:ext cx="749301" cy="365125"/>
          </a:xfrm>
          <a:prstGeom prst="rect">
            <a:avLst/>
          </a:prstGeom>
        </p:spPr>
        <p:txBody>
          <a:bodyPr/>
          <a:lstStyle/>
          <a:p>
            <a:fld id="{1525C0F7-8877-4DF7-9DDC-7358225ABBA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933050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318" y="457200"/>
            <a:ext cx="393276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717" y="987426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0318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AA190517-9ECF-41A1-B68D-7E854CB92DD2}" type="datetime1">
              <a:rPr lang="en-US" smtClean="0"/>
              <a:t>11/21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41100" y="6356351"/>
            <a:ext cx="749301" cy="365125"/>
          </a:xfrm>
          <a:prstGeom prst="rect">
            <a:avLst/>
          </a:prstGeom>
        </p:spPr>
        <p:txBody>
          <a:bodyPr/>
          <a:lstStyle/>
          <a:p>
            <a:fld id="{1525C0F7-8877-4DF7-9DDC-7358225ABBA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691934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E6DF0F4E-349D-47C5-BD1E-90DB51D58A25}" type="datetime1">
              <a:rPr lang="en-US" smtClean="0"/>
              <a:t>11/2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41100" y="6356351"/>
            <a:ext cx="749301" cy="365125"/>
          </a:xfrm>
          <a:prstGeom prst="rect">
            <a:avLst/>
          </a:prstGeom>
        </p:spPr>
        <p:txBody>
          <a:bodyPr/>
          <a:lstStyle/>
          <a:p>
            <a:fld id="{1525C0F7-8877-4DF7-9DDC-7358225ABBA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248818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6835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FB4FE08A-BF4B-4D80-BDC8-950DDC602FC2}" type="datetime1">
              <a:rPr lang="en-US" smtClean="0"/>
              <a:t>11/2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41100" y="6356351"/>
            <a:ext cx="749301" cy="365125"/>
          </a:xfrm>
          <a:prstGeom prst="rect">
            <a:avLst/>
          </a:prstGeom>
        </p:spPr>
        <p:txBody>
          <a:bodyPr/>
          <a:lstStyle/>
          <a:p>
            <a:fld id="{1525C0F7-8877-4DF7-9DDC-7358225ABBA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773103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5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825625"/>
            <a:ext cx="515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D159E7D7-5160-48A1-9DB9-8934885B53C2}" type="datetime1">
              <a:rPr lang="en-US" smtClean="0"/>
              <a:t>11/21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41100" y="6356351"/>
            <a:ext cx="749301" cy="365125"/>
          </a:xfrm>
          <a:prstGeom prst="rect">
            <a:avLst/>
          </a:prstGeom>
        </p:spPr>
        <p:txBody>
          <a:bodyPr/>
          <a:lstStyle/>
          <a:p>
            <a:fld id="{1525C0F7-8877-4DF7-9DDC-7358225ABBA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4293403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1"/>
          </p:nvPr>
        </p:nvSpPr>
        <p:spPr>
          <a:xfrm>
            <a:off x="609600" y="2509838"/>
            <a:ext cx="10441517" cy="374465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4750278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0DC2E92B-947D-4887-BFEB-28A3E9818A95}" type="datetime1">
              <a:rPr lang="en-US" smtClean="0"/>
              <a:t>11/21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41100" y="6356351"/>
            <a:ext cx="749301" cy="365125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fld id="{1525C0F7-8877-4DF7-9DDC-7358225ABBA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477319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94804507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6164617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39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4154818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5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825625"/>
            <a:ext cx="515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2595717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317" y="1111079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0318" y="2427116"/>
            <a:ext cx="5158316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40318" y="3251028"/>
            <a:ext cx="5158316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2427116"/>
            <a:ext cx="518371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3251028"/>
            <a:ext cx="518371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9057559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1455989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4393750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4456931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318" y="1026691"/>
            <a:ext cx="393276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717" y="155691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0318" y="2626891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70414113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318" y="826166"/>
            <a:ext cx="393276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717" y="1356392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0318" y="2426366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27492131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6531419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318" y="457200"/>
            <a:ext cx="393276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717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0318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4F277EF8-9A9F-429E-9A08-38AA7ABB353D}" type="datetime1">
              <a:rPr lang="en-US" smtClean="0"/>
              <a:t>11/21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41100" y="6356351"/>
            <a:ext cx="749301" cy="365125"/>
          </a:xfrm>
          <a:prstGeom prst="rect">
            <a:avLst/>
          </a:prstGeom>
        </p:spPr>
        <p:txBody>
          <a:bodyPr/>
          <a:lstStyle/>
          <a:p>
            <a:fld id="{1525C0F7-8877-4DF7-9DDC-7358225ABBA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623948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1215356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1" y="1215356"/>
            <a:ext cx="76835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9597270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3BCC1D-D3C6-4286-988C-4F8BBCBCCA96}" type="datetimeFigureOut">
              <a:rPr lang="en-US" smtClean="0"/>
              <a:t>11/2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08D9EF-FF85-4EC4-81D5-B994CAB412E7}" type="slidenum">
              <a:rPr lang="en-US" smtClean="0"/>
              <a:t>‹#›</a:t>
            </a:fld>
            <a:endParaRPr lang="en-US"/>
          </a:p>
        </p:txBody>
      </p:sp>
      <p:pic>
        <p:nvPicPr>
          <p:cNvPr id="1026" name="Picture 1" descr="image001">
            <a:extLst>
              <a:ext uri="{FF2B5EF4-FFF2-40B4-BE49-F238E27FC236}">
                <a16:creationId xmlns:a16="http://schemas.microsoft.com/office/drawing/2014/main" id="{38A287C2-FBF6-4197-BE12-B519C9F857F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6544" y="6251713"/>
            <a:ext cx="1848953" cy="4498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6293551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1111079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2571578"/>
            <a:ext cx="10515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3BCC1D-D3C6-4286-988C-4F8BBCBCCA96}" type="datetimeFigureOut">
              <a:rPr lang="en-US" smtClean="0"/>
              <a:t>11/2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08D9EF-FF85-4EC4-81D5-B994CAB412E7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1" descr="image001">
            <a:extLst>
              <a:ext uri="{FF2B5EF4-FFF2-40B4-BE49-F238E27FC236}">
                <a16:creationId xmlns:a16="http://schemas.microsoft.com/office/drawing/2014/main" id="{FA31F5C7-EE25-4803-8CBE-F87FE9BC7C0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6544" y="6251713"/>
            <a:ext cx="1848953" cy="4498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2549973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39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3BCC1D-D3C6-4286-988C-4F8BBCBCCA96}" type="datetimeFigureOut">
              <a:rPr lang="en-US" smtClean="0"/>
              <a:t>11/2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08D9EF-FF85-4EC4-81D5-B994CAB412E7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1" descr="image001">
            <a:extLst>
              <a:ext uri="{FF2B5EF4-FFF2-40B4-BE49-F238E27FC236}">
                <a16:creationId xmlns:a16="http://schemas.microsoft.com/office/drawing/2014/main" id="{94B7E44E-C9C9-498F-927B-A0D816C017C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6544" y="6251713"/>
            <a:ext cx="1848953" cy="4498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20339187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798260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2258759"/>
            <a:ext cx="515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2258759"/>
            <a:ext cx="515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3BCC1D-D3C6-4286-988C-4F8BBCBCCA96}" type="datetimeFigureOut">
              <a:rPr lang="en-US" smtClean="0"/>
              <a:t>11/21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08D9EF-FF85-4EC4-81D5-B994CAB412E7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1" descr="image001">
            <a:extLst>
              <a:ext uri="{FF2B5EF4-FFF2-40B4-BE49-F238E27FC236}">
                <a16:creationId xmlns:a16="http://schemas.microsoft.com/office/drawing/2014/main" id="{6375D0EB-B835-4EBD-83B8-A1FF981CAED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6544" y="6251713"/>
            <a:ext cx="1848953" cy="4498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22510475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317" y="75815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0318" y="2066171"/>
            <a:ext cx="5158316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40318" y="2898104"/>
            <a:ext cx="5158316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2066171"/>
            <a:ext cx="518371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898104"/>
            <a:ext cx="518371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3BCC1D-D3C6-4286-988C-4F8BBCBCCA96}" type="datetimeFigureOut">
              <a:rPr lang="en-US" smtClean="0"/>
              <a:t>11/21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08D9EF-FF85-4EC4-81D5-B994CAB412E7}" type="slidenum">
              <a:rPr lang="en-US" smtClean="0"/>
              <a:t>‹#›</a:t>
            </a:fld>
            <a:endParaRPr lang="en-US"/>
          </a:p>
        </p:txBody>
      </p:sp>
      <p:pic>
        <p:nvPicPr>
          <p:cNvPr id="10" name="Picture 1" descr="image001">
            <a:extLst>
              <a:ext uri="{FF2B5EF4-FFF2-40B4-BE49-F238E27FC236}">
                <a16:creationId xmlns:a16="http://schemas.microsoft.com/office/drawing/2014/main" id="{F99E9E82-CAD1-4827-8522-28E93622615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6544" y="6251713"/>
            <a:ext cx="1848953" cy="4498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08179128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1175247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3BCC1D-D3C6-4286-988C-4F8BBCBCCA96}" type="datetimeFigureOut">
              <a:rPr lang="en-US" smtClean="0"/>
              <a:t>11/21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08D9EF-FF85-4EC4-81D5-B994CAB412E7}" type="slidenum">
              <a:rPr lang="en-US" smtClean="0"/>
              <a:t>‹#›</a:t>
            </a:fld>
            <a:endParaRPr lang="en-US"/>
          </a:p>
        </p:txBody>
      </p:sp>
      <p:pic>
        <p:nvPicPr>
          <p:cNvPr id="6" name="Picture 1" descr="image001">
            <a:extLst>
              <a:ext uri="{FF2B5EF4-FFF2-40B4-BE49-F238E27FC236}">
                <a16:creationId xmlns:a16="http://schemas.microsoft.com/office/drawing/2014/main" id="{C467E1D0-9FDB-4ED5-B2B5-31FF703CA7F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6544" y="6251713"/>
            <a:ext cx="1848953" cy="4498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95051031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3BCC1D-D3C6-4286-988C-4F8BBCBCCA96}" type="datetimeFigureOut">
              <a:rPr lang="en-US" smtClean="0"/>
              <a:t>11/21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08D9EF-FF85-4EC4-81D5-B994CAB412E7}" type="slidenum">
              <a:rPr lang="en-US" smtClean="0"/>
              <a:t>‹#›</a:t>
            </a:fld>
            <a:endParaRPr lang="en-US"/>
          </a:p>
        </p:txBody>
      </p:sp>
      <p:pic>
        <p:nvPicPr>
          <p:cNvPr id="5" name="Picture 1" descr="image001">
            <a:extLst>
              <a:ext uri="{FF2B5EF4-FFF2-40B4-BE49-F238E27FC236}">
                <a16:creationId xmlns:a16="http://schemas.microsoft.com/office/drawing/2014/main" id="{B0F48831-E0C4-4362-879F-43DDF0D6781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6544" y="6251713"/>
            <a:ext cx="1848953" cy="4498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7977121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318" y="457200"/>
            <a:ext cx="393276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717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0318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3BCC1D-D3C6-4286-988C-4F8BBCBCCA96}" type="datetimeFigureOut">
              <a:rPr lang="en-US" smtClean="0"/>
              <a:t>11/21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08D9EF-FF85-4EC4-81D5-B994CAB412E7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1" descr="image001">
            <a:extLst>
              <a:ext uri="{FF2B5EF4-FFF2-40B4-BE49-F238E27FC236}">
                <a16:creationId xmlns:a16="http://schemas.microsoft.com/office/drawing/2014/main" id="{021A55EB-4258-4D4E-A13B-2B82494D8A0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6544" y="6251713"/>
            <a:ext cx="1848953" cy="4498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12890565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318" y="457200"/>
            <a:ext cx="393276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717" y="987426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0318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3BCC1D-D3C6-4286-988C-4F8BBCBCCA96}" type="datetimeFigureOut">
              <a:rPr lang="en-US" smtClean="0"/>
              <a:t>11/21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08D9EF-FF85-4EC4-81D5-B994CAB412E7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1" descr="image001">
            <a:extLst>
              <a:ext uri="{FF2B5EF4-FFF2-40B4-BE49-F238E27FC236}">
                <a16:creationId xmlns:a16="http://schemas.microsoft.com/office/drawing/2014/main" id="{FF354279-1EC3-472D-90CC-454EA156029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6544" y="6251713"/>
            <a:ext cx="1848953" cy="4498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7358886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318" y="457200"/>
            <a:ext cx="393276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717" y="987426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0318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6AB12FE7-1E26-4D5A-A14F-67A8BDD89BC4}" type="datetime1">
              <a:rPr lang="en-US" smtClean="0"/>
              <a:t>11/21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41100" y="6356351"/>
            <a:ext cx="749301" cy="365125"/>
          </a:xfrm>
          <a:prstGeom prst="rect">
            <a:avLst/>
          </a:prstGeom>
        </p:spPr>
        <p:txBody>
          <a:bodyPr/>
          <a:lstStyle/>
          <a:p>
            <a:fld id="{1525C0F7-8877-4DF7-9DDC-7358225ABBA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267640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782221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2242720"/>
            <a:ext cx="10515600" cy="43513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3BCC1D-D3C6-4286-988C-4F8BBCBCCA96}" type="datetimeFigureOut">
              <a:rPr lang="en-US" smtClean="0"/>
              <a:t>11/2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08D9EF-FF85-4EC4-81D5-B994CAB412E7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1" descr="image001">
            <a:extLst>
              <a:ext uri="{FF2B5EF4-FFF2-40B4-BE49-F238E27FC236}">
                <a16:creationId xmlns:a16="http://schemas.microsoft.com/office/drawing/2014/main" id="{53AAE8BC-3D6F-4597-A615-F0012904D8F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6544" y="6251713"/>
            <a:ext cx="1848953" cy="4498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95385200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image001">
            <a:extLst>
              <a:ext uri="{FF2B5EF4-FFF2-40B4-BE49-F238E27FC236}">
                <a16:creationId xmlns:a16="http://schemas.microsoft.com/office/drawing/2014/main" id="{0DA32F22-C646-45ED-BBF1-054092EE871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6544" y="6251713"/>
            <a:ext cx="1848953" cy="4498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25382315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239886116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1111079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2571578"/>
            <a:ext cx="10515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62291152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39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93142898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798260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2258759"/>
            <a:ext cx="515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2258759"/>
            <a:ext cx="515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7336047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317" y="75815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0318" y="2066171"/>
            <a:ext cx="5158316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40318" y="2898104"/>
            <a:ext cx="5158316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2066171"/>
            <a:ext cx="518371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898104"/>
            <a:ext cx="518371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0384494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1175247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81117962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12942797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318" y="457200"/>
            <a:ext cx="393276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717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0318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140947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9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94.xml"/><Relationship Id="rId7" Type="http://schemas.openxmlformats.org/officeDocument/2006/relationships/slideLayout" Target="../slideLayouts/slideLayout98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93.xml"/><Relationship Id="rId1" Type="http://schemas.openxmlformats.org/officeDocument/2006/relationships/slideLayout" Target="../slideLayouts/slideLayout92.xml"/><Relationship Id="rId6" Type="http://schemas.openxmlformats.org/officeDocument/2006/relationships/slideLayout" Target="../slideLayouts/slideLayout97.xml"/><Relationship Id="rId11" Type="http://schemas.openxmlformats.org/officeDocument/2006/relationships/theme" Target="../theme/theme10.xml"/><Relationship Id="rId5" Type="http://schemas.openxmlformats.org/officeDocument/2006/relationships/slideLayout" Target="../slideLayouts/slideLayout96.xml"/><Relationship Id="rId15" Type="http://schemas.openxmlformats.org/officeDocument/2006/relationships/image" Target="../media/image9.jpeg"/><Relationship Id="rId10" Type="http://schemas.openxmlformats.org/officeDocument/2006/relationships/slideLayout" Target="../slideLayouts/slideLayout101.xml"/><Relationship Id="rId4" Type="http://schemas.openxmlformats.org/officeDocument/2006/relationships/slideLayout" Target="../slideLayouts/slideLayout95.xml"/><Relationship Id="rId9" Type="http://schemas.openxmlformats.org/officeDocument/2006/relationships/slideLayout" Target="../slideLayouts/slideLayout100.xml"/><Relationship Id="rId14" Type="http://schemas.openxmlformats.org/officeDocument/2006/relationships/image" Target="../media/image6.png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9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04.xml"/><Relationship Id="rId7" Type="http://schemas.openxmlformats.org/officeDocument/2006/relationships/slideLayout" Target="../slideLayouts/slideLayout108.xml"/><Relationship Id="rId12" Type="http://schemas.openxmlformats.org/officeDocument/2006/relationships/theme" Target="../theme/theme11.xml"/><Relationship Id="rId2" Type="http://schemas.openxmlformats.org/officeDocument/2006/relationships/slideLayout" Target="../slideLayouts/slideLayout103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102.xml"/><Relationship Id="rId6" Type="http://schemas.openxmlformats.org/officeDocument/2006/relationships/slideLayout" Target="../slideLayouts/slideLayout107.xml"/><Relationship Id="rId11" Type="http://schemas.openxmlformats.org/officeDocument/2006/relationships/slideLayout" Target="../slideLayouts/slideLayout112.xml"/><Relationship Id="rId5" Type="http://schemas.openxmlformats.org/officeDocument/2006/relationships/slideLayout" Target="../slideLayouts/slideLayout106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11.xml"/><Relationship Id="rId4" Type="http://schemas.openxmlformats.org/officeDocument/2006/relationships/slideLayout" Target="../slideLayouts/slideLayout105.xml"/><Relationship Id="rId9" Type="http://schemas.openxmlformats.org/officeDocument/2006/relationships/slideLayout" Target="../slideLayouts/slideLayout110.xml"/><Relationship Id="rId14" Type="http://schemas.openxmlformats.org/officeDocument/2006/relationships/image" Target="../media/image2.png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0.xml"/><Relationship Id="rId13" Type="http://schemas.openxmlformats.org/officeDocument/2006/relationships/slideLayout" Target="../slideLayouts/slideLayout125.xml"/><Relationship Id="rId18" Type="http://schemas.openxmlformats.org/officeDocument/2006/relationships/slideLayout" Target="../slideLayouts/slideLayout130.xml"/><Relationship Id="rId3" Type="http://schemas.openxmlformats.org/officeDocument/2006/relationships/slideLayout" Target="../slideLayouts/slideLayout115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119.xml"/><Relationship Id="rId12" Type="http://schemas.openxmlformats.org/officeDocument/2006/relationships/slideLayout" Target="../slideLayouts/slideLayout124.xml"/><Relationship Id="rId17" Type="http://schemas.openxmlformats.org/officeDocument/2006/relationships/slideLayout" Target="../slideLayouts/slideLayout129.xml"/><Relationship Id="rId2" Type="http://schemas.openxmlformats.org/officeDocument/2006/relationships/slideLayout" Target="../slideLayouts/slideLayout114.xml"/><Relationship Id="rId16" Type="http://schemas.openxmlformats.org/officeDocument/2006/relationships/slideLayout" Target="../slideLayouts/slideLayout128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13.xml"/><Relationship Id="rId6" Type="http://schemas.openxmlformats.org/officeDocument/2006/relationships/slideLayout" Target="../slideLayouts/slideLayout118.xml"/><Relationship Id="rId11" Type="http://schemas.openxmlformats.org/officeDocument/2006/relationships/slideLayout" Target="../slideLayouts/slideLayout123.xml"/><Relationship Id="rId5" Type="http://schemas.openxmlformats.org/officeDocument/2006/relationships/slideLayout" Target="../slideLayouts/slideLayout117.xml"/><Relationship Id="rId15" Type="http://schemas.openxmlformats.org/officeDocument/2006/relationships/slideLayout" Target="../slideLayouts/slideLayout127.xml"/><Relationship Id="rId23" Type="http://schemas.openxmlformats.org/officeDocument/2006/relationships/image" Target="../media/image10.emf"/><Relationship Id="rId10" Type="http://schemas.openxmlformats.org/officeDocument/2006/relationships/slideLayout" Target="../slideLayouts/slideLayout122.xml"/><Relationship Id="rId19" Type="http://schemas.openxmlformats.org/officeDocument/2006/relationships/theme" Target="../theme/theme12.xml"/><Relationship Id="rId4" Type="http://schemas.openxmlformats.org/officeDocument/2006/relationships/slideLayout" Target="../slideLayouts/slideLayout116.xml"/><Relationship Id="rId9" Type="http://schemas.openxmlformats.org/officeDocument/2006/relationships/slideLayout" Target="../slideLayouts/slideLayout121.xml"/><Relationship Id="rId14" Type="http://schemas.openxmlformats.org/officeDocument/2006/relationships/slideLayout" Target="../slideLayouts/slideLayout126.xml"/><Relationship Id="rId22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2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image" Target="../media/image2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36.xml"/><Relationship Id="rId16" Type="http://schemas.openxmlformats.org/officeDocument/2006/relationships/image" Target="../media/image5.jpeg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4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image" Target="../media/image2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47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5" Type="http://schemas.openxmlformats.org/officeDocument/2006/relationships/slideLayout" Target="../slideLayouts/slideLayout50.xml"/><Relationship Id="rId15" Type="http://schemas.openxmlformats.org/officeDocument/2006/relationships/image" Target="../media/image6.png"/><Relationship Id="rId10" Type="http://schemas.openxmlformats.org/officeDocument/2006/relationships/slideLayout" Target="../slideLayouts/slideLayout55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image" Target="../media/image3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13" Type="http://schemas.openxmlformats.org/officeDocument/2006/relationships/slideLayout" Target="../slideLayouts/slideLayout69.xml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12" Type="http://schemas.openxmlformats.org/officeDocument/2006/relationships/slideLayout" Target="../slideLayouts/slideLayout68.xml"/><Relationship Id="rId2" Type="http://schemas.openxmlformats.org/officeDocument/2006/relationships/slideLayout" Target="../slideLayouts/slideLayout58.xml"/><Relationship Id="rId16" Type="http://schemas.openxmlformats.org/officeDocument/2006/relationships/image" Target="../media/image7.png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slideLayout" Target="../slideLayouts/slideLayout67.xml"/><Relationship Id="rId5" Type="http://schemas.openxmlformats.org/officeDocument/2006/relationships/slideLayout" Target="../slideLayouts/slideLayout61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66.xml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Relationship Id="rId14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7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72.xml"/><Relationship Id="rId7" Type="http://schemas.openxmlformats.org/officeDocument/2006/relationships/slideLayout" Target="../slideLayouts/slideLayout76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71.xml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11" Type="http://schemas.openxmlformats.org/officeDocument/2006/relationships/slideLayout" Target="../slideLayouts/slideLayout80.xml"/><Relationship Id="rId5" Type="http://schemas.openxmlformats.org/officeDocument/2006/relationships/slideLayout" Target="../slideLayouts/slideLayout74.xml"/><Relationship Id="rId15" Type="http://schemas.openxmlformats.org/officeDocument/2006/relationships/image" Target="../media/image8.png"/><Relationship Id="rId10" Type="http://schemas.openxmlformats.org/officeDocument/2006/relationships/slideLayout" Target="../slideLayouts/slideLayout79.xml"/><Relationship Id="rId4" Type="http://schemas.openxmlformats.org/officeDocument/2006/relationships/slideLayout" Target="../slideLayouts/slideLayout73.xml"/><Relationship Id="rId9" Type="http://schemas.openxmlformats.org/officeDocument/2006/relationships/slideLayout" Target="../slideLayouts/slideLayout78.xml"/><Relationship Id="rId14" Type="http://schemas.openxmlformats.org/officeDocument/2006/relationships/image" Target="../media/image3.pn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83.xml"/><Relationship Id="rId7" Type="http://schemas.openxmlformats.org/officeDocument/2006/relationships/slideLayout" Target="../slideLayouts/slideLayout87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8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slideLayout" Target="../slideLayouts/slideLayout91.xml"/><Relationship Id="rId5" Type="http://schemas.openxmlformats.org/officeDocument/2006/relationships/slideLayout" Target="../slideLayouts/slideLayout85.xml"/><Relationship Id="rId15" Type="http://schemas.openxmlformats.org/officeDocument/2006/relationships/image" Target="../media/image6.png"/><Relationship Id="rId10" Type="http://schemas.openxmlformats.org/officeDocument/2006/relationships/slideLayout" Target="../slideLayouts/slideLayout90.xml"/><Relationship Id="rId4" Type="http://schemas.openxmlformats.org/officeDocument/2006/relationships/slideLayout" Target="../slideLayouts/slideLayout84.xml"/><Relationship Id="rId9" Type="http://schemas.openxmlformats.org/officeDocument/2006/relationships/slideLayout" Target="../slideLayouts/slideLayout89.xml"/><Relationship Id="rId14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64452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128535"/>
            <a:ext cx="10515600" cy="495317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3197" y="6262962"/>
            <a:ext cx="801763" cy="481695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 flipV="1">
            <a:off x="0" y="6136461"/>
            <a:ext cx="12192000" cy="45719"/>
          </a:xfrm>
          <a:prstGeom prst="rect">
            <a:avLst/>
          </a:prstGeom>
          <a:solidFill>
            <a:srgbClr val="80B63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9" name="Picture 8" descr="HMS_Affiliate_NEW_8.png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6799" y="6396314"/>
            <a:ext cx="2257268" cy="293515"/>
          </a:xfrm>
          <a:prstGeom prst="rect">
            <a:avLst/>
          </a:prstGeom>
        </p:spPr>
      </p:pic>
      <p:pic>
        <p:nvPicPr>
          <p:cNvPr id="10" name="Picture 9" descr="BH_BWH.png"/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1" y="6273156"/>
            <a:ext cx="2164436" cy="466925"/>
          </a:xfrm>
          <a:prstGeom prst="rect">
            <a:avLst/>
          </a:prstGeom>
        </p:spPr>
      </p:pic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53800" y="6360508"/>
            <a:ext cx="609600" cy="365125"/>
          </a:xfrm>
          <a:prstGeom prst="rect">
            <a:avLst/>
          </a:prstGeom>
        </p:spPr>
        <p:txBody>
          <a:bodyPr/>
          <a:lstStyle>
            <a:lvl1pPr algn="r">
              <a:defRPr sz="1200" b="1"/>
            </a:lvl1pPr>
          </a:lstStyle>
          <a:p>
            <a:fld id="{1525C0F7-8877-4DF7-9DDC-7358225ABBA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90F2916-C91C-4F57-919F-32CE668361B0}"/>
              </a:ext>
            </a:extLst>
          </p:cNvPr>
          <p:cNvPicPr/>
          <p:nvPr userDrawn="1"/>
        </p:nvPicPr>
        <p:blipFill>
          <a:blip r:embed="rId16"/>
          <a:stretch>
            <a:fillRect/>
          </a:stretch>
        </p:blipFill>
        <p:spPr>
          <a:xfrm>
            <a:off x="9015552" y="6389649"/>
            <a:ext cx="2316480" cy="269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90494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7" r:id="rId3"/>
    <p:sldLayoutId id="2147483658" r:id="rId4"/>
    <p:sldLayoutId id="2147483659" r:id="rId5"/>
    <p:sldLayoutId id="2147483660" r:id="rId6"/>
    <p:sldLayoutId id="2147483661" r:id="rId7"/>
    <p:sldLayoutId id="2147483662" r:id="rId8"/>
    <p:sldLayoutId id="2147483663" r:id="rId9"/>
    <p:sldLayoutId id="2147483664" r:id="rId10"/>
    <p:sldLayoutId id="2147483665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894512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2355011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3BCC1D-D3C6-4286-988C-4F8BBCBCCA96}" type="datetimeFigureOut">
              <a:rPr lang="en-US" smtClean="0"/>
              <a:t>11/2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08D9EF-FF85-4EC4-81D5-B994CAB412E7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F63280E-1286-C14C-88B6-1BCEFBE122EC}"/>
              </a:ext>
            </a:extLst>
          </p:cNvPr>
          <p:cNvSpPr/>
          <p:nvPr userDrawn="1"/>
        </p:nvSpPr>
        <p:spPr>
          <a:xfrm>
            <a:off x="407494" y="6025390"/>
            <a:ext cx="11784505" cy="842181"/>
          </a:xfrm>
          <a:prstGeom prst="rect">
            <a:avLst/>
          </a:prstGeom>
          <a:solidFill>
            <a:srgbClr val="F1E0C1">
              <a:alpha val="7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3" name="Picture 12" descr="HMS_Affiliate_NEW_8.png">
            <a:extLst>
              <a:ext uri="{FF2B5EF4-FFF2-40B4-BE49-F238E27FC236}">
                <a16:creationId xmlns:a16="http://schemas.microsoft.com/office/drawing/2014/main" id="{24FEA5AB-E319-F94C-9C5F-88D05008EE93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09499" y="6290356"/>
            <a:ext cx="2740815" cy="356391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FD8A2946-B9CF-0B4A-9637-B340FA49D071}"/>
              </a:ext>
            </a:extLst>
          </p:cNvPr>
          <p:cNvSpPr/>
          <p:nvPr userDrawn="1"/>
        </p:nvSpPr>
        <p:spPr>
          <a:xfrm>
            <a:off x="1" y="6025388"/>
            <a:ext cx="407495" cy="842182"/>
          </a:xfrm>
          <a:prstGeom prst="rect">
            <a:avLst/>
          </a:prstGeom>
          <a:solidFill>
            <a:srgbClr val="003DA6">
              <a:alpha val="76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5" name="Picture 14" descr="BH_BWH.png">
            <a:extLst>
              <a:ext uri="{FF2B5EF4-FFF2-40B4-BE49-F238E27FC236}">
                <a16:creationId xmlns:a16="http://schemas.microsoft.com/office/drawing/2014/main" id="{61304A8D-2067-6B4B-80B8-4D7392614C0B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564" y="6198104"/>
            <a:ext cx="2330009" cy="502643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FA43B6CD-6744-304E-9604-5FED79F8D7E3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5558073" y="6257691"/>
            <a:ext cx="3283944" cy="393941"/>
          </a:xfrm>
          <a:prstGeom prst="rect">
            <a:avLst/>
          </a:prstGeom>
        </p:spPr>
      </p:pic>
      <p:pic>
        <p:nvPicPr>
          <p:cNvPr id="17" name="Picture 1" descr="image001">
            <a:extLst>
              <a:ext uri="{FF2B5EF4-FFF2-40B4-BE49-F238E27FC236}">
                <a16:creationId xmlns:a16="http://schemas.microsoft.com/office/drawing/2014/main" id="{81B00E30-FFD3-427E-A682-1D6ECAA4A26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1641" y="6247058"/>
            <a:ext cx="1848953" cy="3939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372211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  <p:sldLayoutId id="2147483776" r:id="rId2"/>
    <p:sldLayoutId id="2147483777" r:id="rId3"/>
    <p:sldLayoutId id="2147483778" r:id="rId4"/>
    <p:sldLayoutId id="2147483779" r:id="rId5"/>
    <p:sldLayoutId id="2147483780" r:id="rId6"/>
    <p:sldLayoutId id="2147483781" r:id="rId7"/>
    <p:sldLayoutId id="2147483782" r:id="rId8"/>
    <p:sldLayoutId id="2147483783" r:id="rId9"/>
    <p:sldLayoutId id="2147483784" r:id="rId1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64452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128535"/>
            <a:ext cx="10515600" cy="495317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3197" y="6262962"/>
            <a:ext cx="801763" cy="481695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 flipV="1">
            <a:off x="0" y="6136461"/>
            <a:ext cx="12192000" cy="45719"/>
          </a:xfrm>
          <a:prstGeom prst="rect">
            <a:avLst/>
          </a:prstGeom>
          <a:solidFill>
            <a:srgbClr val="80B63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 descr="HMS_Affiliate_NEW_8.png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6799" y="6396314"/>
            <a:ext cx="2257268" cy="293515"/>
          </a:xfrm>
          <a:prstGeom prst="rect">
            <a:avLst/>
          </a:prstGeom>
        </p:spPr>
      </p:pic>
      <p:pic>
        <p:nvPicPr>
          <p:cNvPr id="10" name="Picture 9" descr="BH_BWH.png"/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1" y="6273156"/>
            <a:ext cx="2164436" cy="466925"/>
          </a:xfrm>
          <a:prstGeom prst="rect">
            <a:avLst/>
          </a:prstGeom>
        </p:spPr>
      </p:pic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53800" y="6360508"/>
            <a:ext cx="609600" cy="365125"/>
          </a:xfrm>
          <a:prstGeom prst="rect">
            <a:avLst/>
          </a:prstGeom>
        </p:spPr>
        <p:txBody>
          <a:bodyPr/>
          <a:lstStyle>
            <a:lvl1pPr algn="r">
              <a:defRPr sz="1200" b="1"/>
            </a:lvl1pPr>
          </a:lstStyle>
          <a:p>
            <a:fld id="{1525C0F7-8877-4DF7-9DDC-7358225ABBA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90F2916-C91C-4F57-919F-32CE668361B0}"/>
              </a:ext>
            </a:extLst>
          </p:cNvPr>
          <p:cNvPicPr/>
          <p:nvPr userDrawn="1"/>
        </p:nvPicPr>
        <p:blipFill>
          <a:blip r:embed="rId16"/>
          <a:stretch>
            <a:fillRect/>
          </a:stretch>
        </p:blipFill>
        <p:spPr>
          <a:xfrm>
            <a:off x="9015552" y="6389649"/>
            <a:ext cx="2316480" cy="269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90494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0" r:id="rId1"/>
    <p:sldLayoutId id="2147483801" r:id="rId2"/>
    <p:sldLayoutId id="2147483802" r:id="rId3"/>
    <p:sldLayoutId id="2147483803" r:id="rId4"/>
    <p:sldLayoutId id="2147483804" r:id="rId5"/>
    <p:sldLayoutId id="2147483805" r:id="rId6"/>
    <p:sldLayoutId id="2147483806" r:id="rId7"/>
    <p:sldLayoutId id="2147483807" r:id="rId8"/>
    <p:sldLayoutId id="2147483808" r:id="rId9"/>
    <p:sldLayoutId id="2147483809" r:id="rId10"/>
    <p:sldLayoutId id="2147483810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DEEDC80-A6AE-4D71-8BED-4E85BC9C5D6B}"/>
              </a:ext>
            </a:extLst>
          </p:cNvPr>
          <p:cNvGraphicFramePr>
            <a:graphicFrameLocks noChangeAspect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16997907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530" imgH="531" progId="TCLayout.ActiveDocument.1">
                  <p:embed/>
                </p:oleObj>
              </mc:Choice>
              <mc:Fallback>
                <p:oleObj name="think-cell Slide" r:id="rId22" imgW="530" imgH="53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DEEDC80-A6AE-4D71-8BED-4E85BC9C5D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8D99B60-9158-488E-8BCC-87D5B5BCDFBF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B8B7701-A632-3D47-AED3-D4B4366A6C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36324" y="6362188"/>
            <a:ext cx="7707596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>
            <a:lvl1pPr algn="r">
              <a:defRPr lang="en-US" sz="10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7BB7F75-52C6-40D5-8388-347CF6B3BA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350" y="523875"/>
            <a:ext cx="10902950" cy="95651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809464-EA83-4E37-8A02-61A16616FE3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41350" y="1719072"/>
            <a:ext cx="10902950" cy="40233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80DC250-A7AB-924E-9520-907FE62E8E91}"/>
              </a:ext>
            </a:extLst>
          </p:cNvPr>
          <p:cNvSpPr txBox="1"/>
          <p:nvPr/>
        </p:nvSpPr>
        <p:spPr>
          <a:xfrm>
            <a:off x="11200986" y="6362188"/>
            <a:ext cx="35093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9D3C46F-8465-6948-8418-CACF6F0DE93E}" type="slidenum">
              <a:rPr lang="en-US" sz="1000" smtClean="0">
                <a:solidFill>
                  <a:schemeClr val="tx1"/>
                </a:solidFill>
              </a:rPr>
              <a:pPr algn="r"/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B496F443-CBC9-D942-BCF6-03ABB20B2848}"/>
              </a:ext>
            </a:extLst>
          </p:cNvPr>
          <p:cNvSpPr/>
          <p:nvPr userDrawn="1"/>
        </p:nvSpPr>
        <p:spPr>
          <a:xfrm>
            <a:off x="640080" y="6246683"/>
            <a:ext cx="241400" cy="345756"/>
          </a:xfrm>
          <a:custGeom>
            <a:avLst/>
            <a:gdLst>
              <a:gd name="connsiteX0" fmla="*/ 241400 w 241400"/>
              <a:gd name="connsiteY0" fmla="*/ 281835 h 345756"/>
              <a:gd name="connsiteX1" fmla="*/ 241400 w 241400"/>
              <a:gd name="connsiteY1" fmla="*/ 311912 h 345756"/>
              <a:gd name="connsiteX2" fmla="*/ 151992 w 241400"/>
              <a:gd name="connsiteY2" fmla="*/ 333806 h 345756"/>
              <a:gd name="connsiteX3" fmla="*/ 89407 w 241400"/>
              <a:gd name="connsiteY3" fmla="*/ 333806 h 345756"/>
              <a:gd name="connsiteX4" fmla="*/ 0 w 241400"/>
              <a:gd name="connsiteY4" fmla="*/ 345756 h 345756"/>
              <a:gd name="connsiteX5" fmla="*/ 0 w 241400"/>
              <a:gd name="connsiteY5" fmla="*/ 315680 h 345756"/>
              <a:gd name="connsiteX6" fmla="*/ 89407 w 241400"/>
              <a:gd name="connsiteY6" fmla="*/ 303730 h 345756"/>
              <a:gd name="connsiteX7" fmla="*/ 151992 w 241400"/>
              <a:gd name="connsiteY7" fmla="*/ 303730 h 345756"/>
              <a:gd name="connsiteX8" fmla="*/ 241400 w 241400"/>
              <a:gd name="connsiteY8" fmla="*/ 281835 h 345756"/>
              <a:gd name="connsiteX9" fmla="*/ 241400 w 241400"/>
              <a:gd name="connsiteY9" fmla="*/ 231708 h 345756"/>
              <a:gd name="connsiteX10" fmla="*/ 241400 w 241400"/>
              <a:gd name="connsiteY10" fmla="*/ 261785 h 345756"/>
              <a:gd name="connsiteX11" fmla="*/ 151992 w 241400"/>
              <a:gd name="connsiteY11" fmla="*/ 283679 h 345756"/>
              <a:gd name="connsiteX12" fmla="*/ 89407 w 241400"/>
              <a:gd name="connsiteY12" fmla="*/ 283679 h 345756"/>
              <a:gd name="connsiteX13" fmla="*/ 0 w 241400"/>
              <a:gd name="connsiteY13" fmla="*/ 295631 h 345756"/>
              <a:gd name="connsiteX14" fmla="*/ 0 w 241400"/>
              <a:gd name="connsiteY14" fmla="*/ 265553 h 345756"/>
              <a:gd name="connsiteX15" fmla="*/ 89407 w 241400"/>
              <a:gd name="connsiteY15" fmla="*/ 253603 h 345756"/>
              <a:gd name="connsiteX16" fmla="*/ 151992 w 241400"/>
              <a:gd name="connsiteY16" fmla="*/ 253603 h 345756"/>
              <a:gd name="connsiteX17" fmla="*/ 241400 w 241400"/>
              <a:gd name="connsiteY17" fmla="*/ 231708 h 345756"/>
              <a:gd name="connsiteX18" fmla="*/ 208972 w 241400"/>
              <a:gd name="connsiteY18" fmla="*/ 129529 h 345756"/>
              <a:gd name="connsiteX19" fmla="*/ 241399 w 241400"/>
              <a:gd name="connsiteY19" fmla="*/ 129529 h 345756"/>
              <a:gd name="connsiteX20" fmla="*/ 241399 w 241400"/>
              <a:gd name="connsiteY20" fmla="*/ 211987 h 345756"/>
              <a:gd name="connsiteX21" fmla="*/ 208972 w 241400"/>
              <a:gd name="connsiteY21" fmla="*/ 228655 h 345756"/>
              <a:gd name="connsiteX22" fmla="*/ 139314 w 241400"/>
              <a:gd name="connsiteY22" fmla="*/ 129529 h 345756"/>
              <a:gd name="connsiteX23" fmla="*/ 171742 w 241400"/>
              <a:gd name="connsiteY23" fmla="*/ 129529 h 345756"/>
              <a:gd name="connsiteX24" fmla="*/ 171742 w 241400"/>
              <a:gd name="connsiteY24" fmla="*/ 234032 h 345756"/>
              <a:gd name="connsiteX25" fmla="*/ 139314 w 241400"/>
              <a:gd name="connsiteY25" fmla="*/ 234032 h 345756"/>
              <a:gd name="connsiteX26" fmla="*/ 139314 w 241400"/>
              <a:gd name="connsiteY26" fmla="*/ 184360 h 345756"/>
              <a:gd name="connsiteX27" fmla="*/ 69657 w 241400"/>
              <a:gd name="connsiteY27" fmla="*/ 129529 h 345756"/>
              <a:gd name="connsiteX28" fmla="*/ 102085 w 241400"/>
              <a:gd name="connsiteY28" fmla="*/ 129529 h 345756"/>
              <a:gd name="connsiteX29" fmla="*/ 102085 w 241400"/>
              <a:gd name="connsiteY29" fmla="*/ 234032 h 345756"/>
              <a:gd name="connsiteX30" fmla="*/ 69657 w 241400"/>
              <a:gd name="connsiteY30" fmla="*/ 234032 h 345756"/>
              <a:gd name="connsiteX31" fmla="*/ 69657 w 241400"/>
              <a:gd name="connsiteY31" fmla="*/ 184360 h 345756"/>
              <a:gd name="connsiteX32" fmla="*/ 0 w 241400"/>
              <a:gd name="connsiteY32" fmla="*/ 129529 h 345756"/>
              <a:gd name="connsiteX33" fmla="*/ 32428 w 241400"/>
              <a:gd name="connsiteY33" fmla="*/ 129529 h 345756"/>
              <a:gd name="connsiteX34" fmla="*/ 32428 w 241400"/>
              <a:gd name="connsiteY34" fmla="*/ 234032 h 345756"/>
              <a:gd name="connsiteX35" fmla="*/ 0 w 241400"/>
              <a:gd name="connsiteY35" fmla="*/ 234032 h 345756"/>
              <a:gd name="connsiteX36" fmla="*/ 0 w 241400"/>
              <a:gd name="connsiteY36" fmla="*/ 184360 h 345756"/>
              <a:gd name="connsiteX37" fmla="*/ 0 w 241400"/>
              <a:gd name="connsiteY37" fmla="*/ 80523 h 345756"/>
              <a:gd name="connsiteX38" fmla="*/ 241400 w 241400"/>
              <a:gd name="connsiteY38" fmla="*/ 80523 h 345756"/>
              <a:gd name="connsiteX39" fmla="*/ 241400 w 241400"/>
              <a:gd name="connsiteY39" fmla="*/ 109957 h 345756"/>
              <a:gd name="connsiteX40" fmla="*/ 120700 w 241400"/>
              <a:gd name="connsiteY40" fmla="*/ 109957 h 345756"/>
              <a:gd name="connsiteX41" fmla="*/ 0 w 241400"/>
              <a:gd name="connsiteY41" fmla="*/ 109957 h 345756"/>
              <a:gd name="connsiteX42" fmla="*/ 120700 w 241400"/>
              <a:gd name="connsiteY42" fmla="*/ 0 h 345756"/>
              <a:gd name="connsiteX43" fmla="*/ 241400 w 241400"/>
              <a:gd name="connsiteY43" fmla="*/ 40101 h 345756"/>
              <a:gd name="connsiteX44" fmla="*/ 241400 w 241400"/>
              <a:gd name="connsiteY44" fmla="*/ 70498 h 345756"/>
              <a:gd name="connsiteX45" fmla="*/ 120700 w 241400"/>
              <a:gd name="connsiteY45" fmla="*/ 30397 h 345756"/>
              <a:gd name="connsiteX46" fmla="*/ 0 w 241400"/>
              <a:gd name="connsiteY46" fmla="*/ 70498 h 345756"/>
              <a:gd name="connsiteX47" fmla="*/ 0 w 241400"/>
              <a:gd name="connsiteY47" fmla="*/ 40101 h 3457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241400" h="345756">
                <a:moveTo>
                  <a:pt x="241400" y="281835"/>
                </a:moveTo>
                <a:lnTo>
                  <a:pt x="241400" y="311912"/>
                </a:lnTo>
                <a:cubicBezTo>
                  <a:pt x="240758" y="313681"/>
                  <a:pt x="229057" y="333806"/>
                  <a:pt x="151992" y="333806"/>
                </a:cubicBezTo>
                <a:lnTo>
                  <a:pt x="89407" y="333806"/>
                </a:lnTo>
                <a:cubicBezTo>
                  <a:pt x="10361" y="334411"/>
                  <a:pt x="1505" y="344664"/>
                  <a:pt x="0" y="345756"/>
                </a:cubicBezTo>
                <a:lnTo>
                  <a:pt x="0" y="315680"/>
                </a:lnTo>
                <a:cubicBezTo>
                  <a:pt x="1505" y="314588"/>
                  <a:pt x="10361" y="304335"/>
                  <a:pt x="89407" y="303730"/>
                </a:cubicBezTo>
                <a:lnTo>
                  <a:pt x="151992" y="303730"/>
                </a:lnTo>
                <a:cubicBezTo>
                  <a:pt x="229057" y="303730"/>
                  <a:pt x="240758" y="283604"/>
                  <a:pt x="241400" y="281835"/>
                </a:cubicBezTo>
                <a:close/>
                <a:moveTo>
                  <a:pt x="241400" y="231708"/>
                </a:moveTo>
                <a:lnTo>
                  <a:pt x="241400" y="261785"/>
                </a:lnTo>
                <a:cubicBezTo>
                  <a:pt x="240758" y="263554"/>
                  <a:pt x="229057" y="283679"/>
                  <a:pt x="151992" y="283679"/>
                </a:cubicBezTo>
                <a:lnTo>
                  <a:pt x="89407" y="283679"/>
                </a:lnTo>
                <a:cubicBezTo>
                  <a:pt x="10361" y="284284"/>
                  <a:pt x="1505" y="294539"/>
                  <a:pt x="0" y="295631"/>
                </a:cubicBezTo>
                <a:lnTo>
                  <a:pt x="0" y="265553"/>
                </a:lnTo>
                <a:cubicBezTo>
                  <a:pt x="1505" y="264461"/>
                  <a:pt x="10361" y="254208"/>
                  <a:pt x="89407" y="253603"/>
                </a:cubicBezTo>
                <a:lnTo>
                  <a:pt x="151992" y="253603"/>
                </a:lnTo>
                <a:cubicBezTo>
                  <a:pt x="229057" y="253603"/>
                  <a:pt x="240758" y="233478"/>
                  <a:pt x="241400" y="231708"/>
                </a:cubicBezTo>
                <a:close/>
                <a:moveTo>
                  <a:pt x="208972" y="129529"/>
                </a:moveTo>
                <a:lnTo>
                  <a:pt x="241399" y="129529"/>
                </a:lnTo>
                <a:lnTo>
                  <a:pt x="241399" y="211987"/>
                </a:lnTo>
                <a:cubicBezTo>
                  <a:pt x="240971" y="213169"/>
                  <a:pt x="235558" y="222563"/>
                  <a:pt x="208972" y="228655"/>
                </a:cubicBezTo>
                <a:close/>
                <a:moveTo>
                  <a:pt x="139314" y="129529"/>
                </a:moveTo>
                <a:lnTo>
                  <a:pt x="171742" y="129529"/>
                </a:lnTo>
                <a:lnTo>
                  <a:pt x="171742" y="234032"/>
                </a:lnTo>
                <a:lnTo>
                  <a:pt x="139314" y="234032"/>
                </a:lnTo>
                <a:lnTo>
                  <a:pt x="139314" y="184360"/>
                </a:lnTo>
                <a:close/>
                <a:moveTo>
                  <a:pt x="69657" y="129529"/>
                </a:moveTo>
                <a:lnTo>
                  <a:pt x="102085" y="129529"/>
                </a:lnTo>
                <a:lnTo>
                  <a:pt x="102085" y="234032"/>
                </a:lnTo>
                <a:lnTo>
                  <a:pt x="69657" y="234032"/>
                </a:lnTo>
                <a:lnTo>
                  <a:pt x="69657" y="184360"/>
                </a:lnTo>
                <a:close/>
                <a:moveTo>
                  <a:pt x="0" y="129529"/>
                </a:moveTo>
                <a:lnTo>
                  <a:pt x="32428" y="129529"/>
                </a:lnTo>
                <a:lnTo>
                  <a:pt x="32428" y="234032"/>
                </a:lnTo>
                <a:lnTo>
                  <a:pt x="0" y="234032"/>
                </a:lnTo>
                <a:lnTo>
                  <a:pt x="0" y="184360"/>
                </a:lnTo>
                <a:close/>
                <a:moveTo>
                  <a:pt x="0" y="80523"/>
                </a:moveTo>
                <a:lnTo>
                  <a:pt x="241400" y="80523"/>
                </a:lnTo>
                <a:lnTo>
                  <a:pt x="241400" y="109957"/>
                </a:lnTo>
                <a:lnTo>
                  <a:pt x="120700" y="109957"/>
                </a:lnTo>
                <a:lnTo>
                  <a:pt x="0" y="109957"/>
                </a:lnTo>
                <a:close/>
                <a:moveTo>
                  <a:pt x="120700" y="0"/>
                </a:moveTo>
                <a:lnTo>
                  <a:pt x="241400" y="40101"/>
                </a:lnTo>
                <a:lnTo>
                  <a:pt x="241400" y="70498"/>
                </a:lnTo>
                <a:lnTo>
                  <a:pt x="120700" y="30397"/>
                </a:lnTo>
                <a:lnTo>
                  <a:pt x="0" y="70498"/>
                </a:lnTo>
                <a:lnTo>
                  <a:pt x="0" y="40101"/>
                </a:lnTo>
                <a:close/>
              </a:path>
            </a:pathLst>
          </a:custGeom>
          <a:solidFill>
            <a:srgbClr val="009CA6"/>
          </a:solidFill>
          <a:ln w="171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24812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5" r:id="rId1"/>
    <p:sldLayoutId id="2147483826" r:id="rId2"/>
    <p:sldLayoutId id="2147483827" r:id="rId3"/>
    <p:sldLayoutId id="2147483828" r:id="rId4"/>
    <p:sldLayoutId id="2147483829" r:id="rId5"/>
    <p:sldLayoutId id="2147483830" r:id="rId6"/>
    <p:sldLayoutId id="2147483831" r:id="rId7"/>
    <p:sldLayoutId id="2147483832" r:id="rId8"/>
    <p:sldLayoutId id="2147483833" r:id="rId9"/>
    <p:sldLayoutId id="2147483834" r:id="rId10"/>
    <p:sldLayoutId id="2147483835" r:id="rId11"/>
    <p:sldLayoutId id="2147483836" r:id="rId12"/>
    <p:sldLayoutId id="2147483837" r:id="rId13"/>
    <p:sldLayoutId id="2147483838" r:id="rId14"/>
    <p:sldLayoutId id="2147483839" r:id="rId15"/>
    <p:sldLayoutId id="2147483840" r:id="rId16"/>
    <p:sldLayoutId id="2147483841" r:id="rId17"/>
    <p:sldLayoutId id="2147483843" r:id="rId1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61963" indent="-228600" algn="l" defTabSz="914400" rtl="0" eaLnBrk="1" latinLnBrk="0" hangingPunct="1">
        <a:lnSpc>
          <a:spcPct val="100000"/>
        </a:lnSpc>
        <a:spcBef>
          <a:spcPts val="0"/>
        </a:spcBef>
        <a:buSzPct val="95000"/>
        <a:buFont typeface="Arial" panose="020B0604020202020204" pitchFamily="34" charset="0"/>
        <a:buChar char="•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88975" indent="-220663" algn="l" defTabSz="914400" rtl="0" eaLnBrk="1" latinLnBrk="0" hangingPunct="1">
        <a:lnSpc>
          <a:spcPct val="100000"/>
        </a:lnSpc>
        <a:spcBef>
          <a:spcPts val="0"/>
        </a:spcBef>
        <a:buFont typeface="Calibri" panose="020F0502020204030204" pitchFamily="34" charset="0"/>
        <a:buChar char="‒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917575" indent="-233363" algn="l" defTabSz="914400" rtl="0" eaLnBrk="1" latinLnBrk="0" hangingPunct="1">
        <a:lnSpc>
          <a:spcPct val="100000"/>
        </a:lnSpc>
        <a:spcBef>
          <a:spcPts val="0"/>
        </a:spcBef>
        <a:buSzPct val="80000"/>
        <a:buFont typeface="Wingdings" pitchFamily="2" charset="2"/>
        <a:buChar char="§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146175" indent="-234950" algn="l" defTabSz="914400" rtl="0" eaLnBrk="1" latinLnBrk="0" hangingPunct="1">
        <a:lnSpc>
          <a:spcPct val="100000"/>
        </a:lnSpc>
        <a:spcBef>
          <a:spcPts val="0"/>
        </a:spcBef>
        <a:buSzPct val="90000"/>
        <a:buFont typeface="System Font Regular"/>
        <a:buChar char="–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27">
          <p15:clr>
            <a:srgbClr val="F26B43"/>
          </p15:clr>
        </p15:guide>
        <p15:guide id="2" pos="401">
          <p15:clr>
            <a:srgbClr val="F26B43"/>
          </p15:clr>
        </p15:guide>
        <p15:guide id="3" pos="7274">
          <p15:clr>
            <a:srgbClr val="F26B43"/>
          </p15:clr>
        </p15:guide>
        <p15:guide id="4" orient="horz" pos="938">
          <p15:clr>
            <a:srgbClr val="F26B43"/>
          </p15:clr>
        </p15:guide>
        <p15:guide id="5" orient="horz" pos="1082">
          <p15:clr>
            <a:srgbClr val="F26B43"/>
          </p15:clr>
        </p15:guide>
        <p15:guide id="6" orient="horz" pos="3619">
          <p15:clr>
            <a:srgbClr val="F26B43"/>
          </p15:clr>
        </p15:guide>
        <p15:guide id="7" orient="horz" pos="4084">
          <p15:clr>
            <a:srgbClr val="F26B43"/>
          </p15:clr>
        </p15:guide>
        <p15:guide id="8" orient="horz" pos="385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EC3F0E8-5060-4F70-B155-33DA4A7796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ED89A85-36BF-4006-ACE5-6DC1BB2019F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F981222-41C1-4F33-9157-A37D064E1CC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83E8233-3406-4DA4-B1A7-0D1EF51F0BDA}" type="datetimeFigureOut">
              <a:rPr lang="en-US" smtClean="0"/>
              <a:t>11/21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9D9C2CC-DAF0-4DD1-843E-B752D56ABC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4E80048-1D04-4B59-9250-ECE346A763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E91C937-4A66-4F34-97D6-A399595905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65191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080365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1248" y="6105571"/>
            <a:ext cx="927835" cy="557439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5847728"/>
            <a:ext cx="12192000" cy="98233"/>
          </a:xfrm>
          <a:prstGeom prst="rect">
            <a:avLst/>
          </a:prstGeom>
          <a:solidFill>
            <a:srgbClr val="80B63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9" name="Picture 8" descr="HMS_Affiliate_NEW_8.png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70194" y="6214456"/>
            <a:ext cx="2612207" cy="339668"/>
          </a:xfrm>
          <a:prstGeom prst="rect">
            <a:avLst/>
          </a:prstGeom>
        </p:spPr>
      </p:pic>
      <p:pic>
        <p:nvPicPr>
          <p:cNvPr id="10" name="Picture 9" descr="BH_BWH.png"/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1" y="6117167"/>
            <a:ext cx="2710537" cy="584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35736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  <p:sldLayoutId id="2147483693" r:id="rId5"/>
    <p:sldLayoutId id="2147483694" r:id="rId6"/>
    <p:sldLayoutId id="2147483695" r:id="rId7"/>
    <p:sldLayoutId id="2147483696" r:id="rId8"/>
    <p:sldLayoutId id="2147483697" r:id="rId9"/>
    <p:sldLayoutId id="2147483698" r:id="rId10"/>
    <p:sldLayoutId id="214748369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64452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128535"/>
            <a:ext cx="10515600" cy="495317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3197" y="6262962"/>
            <a:ext cx="801763" cy="481695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 flipV="1">
            <a:off x="0" y="6136461"/>
            <a:ext cx="12192000" cy="45719"/>
          </a:xfrm>
          <a:prstGeom prst="rect">
            <a:avLst/>
          </a:prstGeom>
          <a:solidFill>
            <a:srgbClr val="80B63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9" name="Picture 8" descr="HMS_Affiliate_NEW_8.png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6799" y="6396314"/>
            <a:ext cx="2257268" cy="293515"/>
          </a:xfrm>
          <a:prstGeom prst="rect">
            <a:avLst/>
          </a:prstGeom>
        </p:spPr>
      </p:pic>
      <p:pic>
        <p:nvPicPr>
          <p:cNvPr id="10" name="Picture 9" descr="BH_BWH.png"/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1" y="6273156"/>
            <a:ext cx="2164436" cy="466925"/>
          </a:xfrm>
          <a:prstGeom prst="rect">
            <a:avLst/>
          </a:prstGeom>
        </p:spPr>
      </p:pic>
      <p:pic>
        <p:nvPicPr>
          <p:cNvPr id="11" name="Picture 10" descr="PHS_K.jpg"/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50306" y="6376658"/>
            <a:ext cx="2128573" cy="255608"/>
          </a:xfrm>
          <a:prstGeom prst="rect">
            <a:avLst/>
          </a:prstGeom>
        </p:spPr>
      </p:pic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41100" y="6356351"/>
            <a:ext cx="749301" cy="365125"/>
          </a:xfrm>
          <a:prstGeom prst="rect">
            <a:avLst/>
          </a:prstGeom>
        </p:spPr>
        <p:txBody>
          <a:bodyPr/>
          <a:lstStyle>
            <a:lvl1pPr algn="r">
              <a:defRPr sz="1200" b="1"/>
            </a:lvl1pPr>
          </a:lstStyle>
          <a:p>
            <a:fld id="{1525C0F7-8877-4DF7-9DDC-7358225ABBA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21C6066-B66E-4152-8E47-0534A2B2A85F}"/>
              </a:ext>
            </a:extLst>
          </p:cNvPr>
          <p:cNvSpPr txBox="1"/>
          <p:nvPr userDrawn="1"/>
        </p:nvSpPr>
        <p:spPr>
          <a:xfrm>
            <a:off x="-8038" y="6689828"/>
            <a:ext cx="205537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/>
              <a:t>Developed by Strategy Implementation, APSI</a:t>
            </a:r>
          </a:p>
        </p:txBody>
      </p:sp>
    </p:spTree>
    <p:extLst>
      <p:ext uri="{BB962C8B-B14F-4D97-AF65-F5344CB8AC3E}">
        <p14:creationId xmlns:p14="http://schemas.microsoft.com/office/powerpoint/2010/main" val="24072979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09" r:id="rId9"/>
    <p:sldLayoutId id="2147483710" r:id="rId10"/>
    <p:sldLayoutId id="2147483711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894512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2355011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3BCC1D-D3C6-4286-988C-4F8BBCBCCA96}" type="datetimeFigureOut">
              <a:rPr lang="en-US" smtClean="0"/>
              <a:t>11/2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08D9EF-FF85-4EC4-81D5-B994CAB412E7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F63280E-1286-C14C-88B6-1BCEFBE122EC}"/>
              </a:ext>
            </a:extLst>
          </p:cNvPr>
          <p:cNvSpPr/>
          <p:nvPr userDrawn="1"/>
        </p:nvSpPr>
        <p:spPr>
          <a:xfrm>
            <a:off x="407494" y="6025390"/>
            <a:ext cx="11784505" cy="842181"/>
          </a:xfrm>
          <a:prstGeom prst="rect">
            <a:avLst/>
          </a:prstGeom>
          <a:solidFill>
            <a:srgbClr val="F1E0C1">
              <a:alpha val="7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3" name="Picture 12" descr="HMS_Affiliate_NEW_8.png">
            <a:extLst>
              <a:ext uri="{FF2B5EF4-FFF2-40B4-BE49-F238E27FC236}">
                <a16:creationId xmlns:a16="http://schemas.microsoft.com/office/drawing/2014/main" id="{24FEA5AB-E319-F94C-9C5F-88D05008EE93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7527" y="6285042"/>
            <a:ext cx="2740815" cy="356391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FD8A2946-B9CF-0B4A-9637-B340FA49D071}"/>
              </a:ext>
            </a:extLst>
          </p:cNvPr>
          <p:cNvSpPr/>
          <p:nvPr userDrawn="1"/>
        </p:nvSpPr>
        <p:spPr>
          <a:xfrm>
            <a:off x="1" y="6025388"/>
            <a:ext cx="407495" cy="842182"/>
          </a:xfrm>
          <a:prstGeom prst="rect">
            <a:avLst/>
          </a:prstGeom>
          <a:solidFill>
            <a:srgbClr val="003DA6">
              <a:alpha val="76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5" name="Picture 14" descr="BH_BWH.png">
            <a:extLst>
              <a:ext uri="{FF2B5EF4-FFF2-40B4-BE49-F238E27FC236}">
                <a16:creationId xmlns:a16="http://schemas.microsoft.com/office/drawing/2014/main" id="{61304A8D-2067-6B4B-80B8-4D7392614C0B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564" y="6198104"/>
            <a:ext cx="2330009" cy="502643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FA43B6CD-6744-304E-9604-5FED79F8D7E3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8488956" y="6247491"/>
            <a:ext cx="3283944" cy="393941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37738" y="6267997"/>
            <a:ext cx="687740" cy="4131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1853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726" r:id="rId2"/>
    <p:sldLayoutId id="2147483727" r:id="rId3"/>
    <p:sldLayoutId id="2147483728" r:id="rId4"/>
    <p:sldLayoutId id="2147483729" r:id="rId5"/>
    <p:sldLayoutId id="2147483730" r:id="rId6"/>
    <p:sldLayoutId id="2147483731" r:id="rId7"/>
    <p:sldLayoutId id="2147483732" r:id="rId8"/>
    <p:sldLayoutId id="2147483733" r:id="rId9"/>
    <p:sldLayoutId id="2147483734" r:id="rId10"/>
    <p:sldLayoutId id="2147483735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64452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128535"/>
            <a:ext cx="10515600" cy="495317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Rectangle 7"/>
          <p:cNvSpPr/>
          <p:nvPr userDrawn="1"/>
        </p:nvSpPr>
        <p:spPr>
          <a:xfrm flipV="1">
            <a:off x="0" y="6136461"/>
            <a:ext cx="12192000" cy="45719"/>
          </a:xfrm>
          <a:prstGeom prst="rect">
            <a:avLst/>
          </a:prstGeom>
          <a:solidFill>
            <a:srgbClr val="80B63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0" name="Picture 9" descr="BH_BWH.png"/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1" y="6273156"/>
            <a:ext cx="2164436" cy="466925"/>
          </a:xfrm>
          <a:prstGeom prst="rect">
            <a:avLst/>
          </a:prstGeom>
        </p:spPr>
      </p:pic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41100" y="6356351"/>
            <a:ext cx="749301" cy="365125"/>
          </a:xfrm>
          <a:prstGeom prst="rect">
            <a:avLst/>
          </a:prstGeom>
        </p:spPr>
        <p:txBody>
          <a:bodyPr/>
          <a:lstStyle>
            <a:lvl1pPr algn="r">
              <a:defRPr sz="1200" b="1"/>
            </a:lvl1pPr>
          </a:lstStyle>
          <a:p>
            <a:fld id="{1525C0F7-8877-4DF7-9DDC-7358225ABBA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163939DB-AE77-4CEA-ADCD-0019C9BDAA66}"/>
              </a:ext>
            </a:extLst>
          </p:cNvPr>
          <p:cNvPicPr>
            <a:picLocks noChangeAspect="1"/>
          </p:cNvPicPr>
          <p:nvPr userDrawn="1"/>
        </p:nvPicPr>
        <p:blipFill>
          <a:blip r:embed="rId16"/>
          <a:stretch>
            <a:fillRect/>
          </a:stretch>
        </p:blipFill>
        <p:spPr>
          <a:xfrm>
            <a:off x="8922327" y="6241647"/>
            <a:ext cx="2706707" cy="4747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09260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7" r:id="rId1"/>
    <p:sldLayoutId id="2147483738" r:id="rId2"/>
    <p:sldLayoutId id="2147483739" r:id="rId3"/>
    <p:sldLayoutId id="2147483740" r:id="rId4"/>
    <p:sldLayoutId id="2147483741" r:id="rId5"/>
    <p:sldLayoutId id="2147483742" r:id="rId6"/>
    <p:sldLayoutId id="2147483743" r:id="rId7"/>
    <p:sldLayoutId id="2147483744" r:id="rId8"/>
    <p:sldLayoutId id="2147483745" r:id="rId9"/>
    <p:sldLayoutId id="2147483746" r:id="rId10"/>
    <p:sldLayoutId id="2147483747" r:id="rId11"/>
    <p:sldLayoutId id="2147483748" r:id="rId12"/>
    <p:sldLayoutId id="2147483749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942548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2403047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0" y="5959321"/>
            <a:ext cx="12225107" cy="66426"/>
          </a:xfrm>
          <a:prstGeom prst="rect">
            <a:avLst/>
          </a:prstGeom>
          <a:solidFill>
            <a:srgbClr val="003D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u="sng">
              <a:solidFill>
                <a:srgbClr val="003DA6"/>
              </a:solidFill>
            </a:endParaRPr>
          </a:p>
        </p:txBody>
      </p:sp>
      <p:pic>
        <p:nvPicPr>
          <p:cNvPr id="7" name="Picture 6" descr="HMS_Affiliate_NEW_8.png">
            <a:extLst>
              <a:ext uri="{FF2B5EF4-FFF2-40B4-BE49-F238E27FC236}">
                <a16:creationId xmlns:a16="http://schemas.microsoft.com/office/drawing/2014/main" id="{759A187A-127A-4C49-A0CA-9ED25B75C55E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86469" y="6211374"/>
            <a:ext cx="2900545" cy="377161"/>
          </a:xfrm>
          <a:prstGeom prst="rect">
            <a:avLst/>
          </a:prstGeom>
        </p:spPr>
      </p:pic>
      <p:pic>
        <p:nvPicPr>
          <p:cNvPr id="8" name="Picture 7" descr="BH_BWH.png">
            <a:extLst>
              <a:ext uri="{FF2B5EF4-FFF2-40B4-BE49-F238E27FC236}">
                <a16:creationId xmlns:a16="http://schemas.microsoft.com/office/drawing/2014/main" id="{768BCC3C-B5DA-F441-9156-824E21E81880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987" y="6131511"/>
            <a:ext cx="2600768" cy="561053"/>
          </a:xfrm>
          <a:prstGeom prst="rect">
            <a:avLst/>
          </a:prstGeom>
        </p:spPr>
      </p:pic>
      <p:pic>
        <p:nvPicPr>
          <p:cNvPr id="10" name="Picture 9" descr="A picture containing plate, drawing&#10;&#10;Description automatically generated">
            <a:extLst>
              <a:ext uri="{FF2B5EF4-FFF2-40B4-BE49-F238E27FC236}">
                <a16:creationId xmlns:a16="http://schemas.microsoft.com/office/drawing/2014/main" id="{A63856C8-81C4-46D1-9B19-27A43ECF1FA8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8720" y="6222775"/>
            <a:ext cx="2194560" cy="4046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94903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1" r:id="rId1"/>
    <p:sldLayoutId id="2147483752" r:id="rId2"/>
    <p:sldLayoutId id="2147483753" r:id="rId3"/>
    <p:sldLayoutId id="2147483754" r:id="rId4"/>
    <p:sldLayoutId id="2147483755" r:id="rId5"/>
    <p:sldLayoutId id="2147483756" r:id="rId6"/>
    <p:sldLayoutId id="2147483757" r:id="rId7"/>
    <p:sldLayoutId id="2147483758" r:id="rId8"/>
    <p:sldLayoutId id="2147483759" r:id="rId9"/>
    <p:sldLayoutId id="2147483760" r:id="rId10"/>
    <p:sldLayoutId id="214748376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894512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2355011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3BCC1D-D3C6-4286-988C-4F8BBCBCCA96}" type="datetimeFigureOut">
              <a:rPr lang="en-US" smtClean="0"/>
              <a:t>11/2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08D9EF-FF85-4EC4-81D5-B994CAB412E7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F63280E-1286-C14C-88B6-1BCEFBE122EC}"/>
              </a:ext>
            </a:extLst>
          </p:cNvPr>
          <p:cNvSpPr/>
          <p:nvPr userDrawn="1"/>
        </p:nvSpPr>
        <p:spPr>
          <a:xfrm>
            <a:off x="407494" y="6025390"/>
            <a:ext cx="11784505" cy="842181"/>
          </a:xfrm>
          <a:prstGeom prst="rect">
            <a:avLst/>
          </a:prstGeom>
          <a:solidFill>
            <a:srgbClr val="F1E0C1">
              <a:alpha val="7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3" name="Picture 12" descr="HMS_Affiliate_NEW_8.png">
            <a:extLst>
              <a:ext uri="{FF2B5EF4-FFF2-40B4-BE49-F238E27FC236}">
                <a16:creationId xmlns:a16="http://schemas.microsoft.com/office/drawing/2014/main" id="{24FEA5AB-E319-F94C-9C5F-88D05008EE93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7527" y="6285042"/>
            <a:ext cx="2740815" cy="356391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FD8A2946-B9CF-0B4A-9637-B340FA49D071}"/>
              </a:ext>
            </a:extLst>
          </p:cNvPr>
          <p:cNvSpPr/>
          <p:nvPr userDrawn="1"/>
        </p:nvSpPr>
        <p:spPr>
          <a:xfrm>
            <a:off x="1" y="6025388"/>
            <a:ext cx="407495" cy="842182"/>
          </a:xfrm>
          <a:prstGeom prst="rect">
            <a:avLst/>
          </a:prstGeom>
          <a:solidFill>
            <a:srgbClr val="003DA6">
              <a:alpha val="76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5" name="Picture 14" descr="BH_BWH.png">
            <a:extLst>
              <a:ext uri="{FF2B5EF4-FFF2-40B4-BE49-F238E27FC236}">
                <a16:creationId xmlns:a16="http://schemas.microsoft.com/office/drawing/2014/main" id="{61304A8D-2067-6B4B-80B8-4D7392614C0B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564" y="6198104"/>
            <a:ext cx="2330009" cy="502643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FA43B6CD-6744-304E-9604-5FED79F8D7E3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8488956" y="6247491"/>
            <a:ext cx="3283944" cy="393941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37738" y="6267997"/>
            <a:ext cx="687740" cy="4131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57749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3" r:id="rId1"/>
    <p:sldLayoutId id="2147483764" r:id="rId2"/>
    <p:sldLayoutId id="2147483765" r:id="rId3"/>
    <p:sldLayoutId id="2147483766" r:id="rId4"/>
    <p:sldLayoutId id="2147483767" r:id="rId5"/>
    <p:sldLayoutId id="2147483768" r:id="rId6"/>
    <p:sldLayoutId id="2147483769" r:id="rId7"/>
    <p:sldLayoutId id="2147483770" r:id="rId8"/>
    <p:sldLayoutId id="2147483771" r:id="rId9"/>
    <p:sldLayoutId id="2147483772" r:id="rId10"/>
    <p:sldLayoutId id="214748377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9.xml"/><Relationship Id="rId4" Type="http://schemas.openxmlformats.org/officeDocument/2006/relationships/image" Target="../media/image31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9.xml"/><Relationship Id="rId4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9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9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9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9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6784A2DF-72A0-47E3-9DE8-E1ACC495F865}"/>
              </a:ext>
            </a:extLst>
          </p:cNvPr>
          <p:cNvSpPr txBox="1">
            <a:spLocks/>
          </p:cNvSpPr>
          <p:nvPr/>
        </p:nvSpPr>
        <p:spPr>
          <a:xfrm>
            <a:off x="990600" y="1911805"/>
            <a:ext cx="10227658" cy="2808528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4800" b="0" kern="1200" cap="none">
                <a:solidFill>
                  <a:srgbClr val="003DA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200" b="1">
                <a:cs typeface="Arial"/>
              </a:rPr>
              <a:t>Addressing Radiology Recommendations Collaboratively (ARRC)</a:t>
            </a:r>
          </a:p>
          <a:p>
            <a:endParaRPr lang="en-US" sz="2000" b="1">
              <a:latin typeface="+mn-lt"/>
              <a:cs typeface="Arial" panose="020B0604020202020204" pitchFamily="34" charset="0"/>
            </a:endParaRPr>
          </a:p>
          <a:p>
            <a:r>
              <a:rPr lang="en-US" sz="2800" b="1">
                <a:latin typeface="+mn-lt"/>
                <a:cs typeface="Arial" panose="020B0604020202020204" pitchFamily="34" charset="0"/>
              </a:rPr>
              <a:t>Ensuring timely performance when clinically necessary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F3F51560-7193-4355-8C86-BE5D41C7C0F0}"/>
              </a:ext>
            </a:extLst>
          </p:cNvPr>
          <p:cNvSpPr txBox="1">
            <a:spLocks/>
          </p:cNvSpPr>
          <p:nvPr/>
        </p:nvSpPr>
        <p:spPr>
          <a:xfrm>
            <a:off x="987992" y="4935698"/>
            <a:ext cx="8644672" cy="54864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4800" b="0" kern="1200" cap="none">
                <a:solidFill>
                  <a:srgbClr val="003DA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 b="1">
                <a:latin typeface="+mn-lt"/>
                <a:cs typeface="Arial" panose="020B0604020202020204" pitchFamily="34" charset="0"/>
              </a:rPr>
              <a:t>Team Leads: </a:t>
            </a:r>
            <a:r>
              <a:rPr lang="en-US" sz="2000">
                <a:latin typeface="+mn-lt"/>
                <a:cs typeface="Arial" panose="020B0604020202020204" pitchFamily="34" charset="0"/>
              </a:rPr>
              <a:t>Neena Kapoor, MD; Sonali Desai, MD, MPH</a:t>
            </a:r>
          </a:p>
          <a:p>
            <a:r>
              <a:rPr lang="en-US" sz="2000" b="1">
                <a:latin typeface="+mn-lt"/>
                <a:cs typeface="Arial" panose="020B0604020202020204" pitchFamily="34" charset="0"/>
              </a:rPr>
              <a:t>Executive Sponsor: </a:t>
            </a:r>
            <a:r>
              <a:rPr lang="en-US" sz="2000">
                <a:latin typeface="+mn-lt"/>
                <a:cs typeface="Arial" panose="020B0604020202020204" pitchFamily="34" charset="0"/>
              </a:rPr>
              <a:t>Ramin Khorasani, MD, MPH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7CC54396-97AB-409E-B850-2AE2619B0508}"/>
              </a:ext>
            </a:extLst>
          </p:cNvPr>
          <p:cNvSpPr txBox="1">
            <a:spLocks/>
          </p:cNvSpPr>
          <p:nvPr/>
        </p:nvSpPr>
        <p:spPr>
          <a:xfrm>
            <a:off x="985181" y="5684085"/>
            <a:ext cx="6939981" cy="437388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4800" b="0" kern="1200" cap="none">
                <a:solidFill>
                  <a:srgbClr val="003DA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 b="1" dirty="0">
                <a:latin typeface="+mn-lt"/>
                <a:cs typeface="Arial"/>
              </a:rPr>
              <a:t>Oversight Committee, November 14, 2023</a:t>
            </a:r>
            <a:endParaRPr lang="en-US" sz="2000" dirty="0">
              <a:latin typeface="+mn-lt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0192722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3">
            <a:extLst>
              <a:ext uri="{FF2B5EF4-FFF2-40B4-BE49-F238E27FC236}">
                <a16:creationId xmlns:a16="http://schemas.microsoft.com/office/drawing/2014/main" id="{27C4593E-F331-4059-A2BA-5BC77797F351}"/>
              </a:ext>
            </a:extLst>
          </p:cNvPr>
          <p:cNvSpPr txBox="1">
            <a:spLocks/>
          </p:cNvSpPr>
          <p:nvPr/>
        </p:nvSpPr>
        <p:spPr>
          <a:xfrm>
            <a:off x="291313" y="16535"/>
            <a:ext cx="10042890" cy="7500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4000" dirty="0">
                <a:solidFill>
                  <a:schemeClr val="accent2"/>
                </a:solidFill>
                <a:cs typeface="Arial"/>
              </a:rPr>
              <a:t>Alert Status Updat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F978A67-353B-4C2D-80DA-3A47F2FB7342}"/>
              </a:ext>
            </a:extLst>
          </p:cNvPr>
          <p:cNvSpPr txBox="1"/>
          <p:nvPr/>
        </p:nvSpPr>
        <p:spPr>
          <a:xfrm>
            <a:off x="10400145" y="3295561"/>
            <a:ext cx="835891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US"/>
          </a:p>
        </p:txBody>
      </p:sp>
      <p:pic>
        <p:nvPicPr>
          <p:cNvPr id="2" name="Picture 1" descr="A green bar graph with numbers and a bar chart&#10;&#10;Description automatically generated">
            <a:extLst>
              <a:ext uri="{FF2B5EF4-FFF2-40B4-BE49-F238E27FC236}">
                <a16:creationId xmlns:a16="http://schemas.microsoft.com/office/drawing/2014/main" id="{EE696432-A699-C9D5-363E-75F4FC27337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77437" y="715980"/>
            <a:ext cx="5499569" cy="5783525"/>
          </a:xfrm>
          <a:prstGeom prst="rect">
            <a:avLst/>
          </a:prstGeom>
        </p:spPr>
      </p:pic>
      <p:pic>
        <p:nvPicPr>
          <p:cNvPr id="5" name="Picture 4" descr="A white background with black text&#10;&#10;Description automatically generated">
            <a:extLst>
              <a:ext uri="{FF2B5EF4-FFF2-40B4-BE49-F238E27FC236}">
                <a16:creationId xmlns:a16="http://schemas.microsoft.com/office/drawing/2014/main" id="{046E9A05-A747-2F11-BE51-FA8022176EE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21511" y="2017024"/>
            <a:ext cx="2743200" cy="1506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786258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318528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9206FA14-07A6-4D4F-8AD6-A1AE43D08CD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0647801"/>
              </p:ext>
            </p:extLst>
          </p:nvPr>
        </p:nvGraphicFramePr>
        <p:xfrm>
          <a:off x="1075392" y="1814837"/>
          <a:ext cx="10731597" cy="244075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731597">
                  <a:extLst>
                    <a:ext uri="{9D8B030D-6E8A-4147-A177-3AD203B41FA5}">
                      <a16:colId xmlns:a16="http://schemas.microsoft.com/office/drawing/2014/main" val="1442763237"/>
                    </a:ext>
                  </a:extLst>
                </a:gridCol>
              </a:tblGrid>
              <a:tr h="611954">
                <a:tc>
                  <a:txBody>
                    <a:bodyPr/>
                    <a:lstStyle/>
                    <a:p>
                      <a:r>
                        <a:rPr lang="en-US" sz="2400" b="1" dirty="0">
                          <a:solidFill>
                            <a:schemeClr val="tx1"/>
                          </a:solidFill>
                          <a:latin typeface="+mj-lt"/>
                          <a:cs typeface="Arial"/>
                        </a:rPr>
                        <a:t>ARRC Oversight Committee – 11/14/2023</a:t>
                      </a:r>
                      <a:endParaRPr lang="en-US" sz="2400" dirty="0">
                        <a:solidFill>
                          <a:schemeClr val="tx1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45988358"/>
                  </a:ext>
                </a:extLst>
              </a:tr>
              <a:tr h="345887">
                <a:tc>
                  <a:txBody>
                    <a:bodyPr/>
                    <a:lstStyle/>
                    <a:p>
                      <a:pPr marL="0" indent="0">
                        <a:buFont typeface="+mj-lt"/>
                        <a:buNone/>
                      </a:pPr>
                      <a:r>
                        <a:rPr lang="en-US" sz="2400" b="1" dirty="0">
                          <a:solidFill>
                            <a:schemeClr val="bg1"/>
                          </a:solidFill>
                          <a:latin typeface="+mn-lt"/>
                          <a:cs typeface="Arial"/>
                        </a:rPr>
                        <a:t>Content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D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1054803"/>
                  </a:ext>
                </a:extLst>
              </a:tr>
              <a:tr h="345887"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b="1" i="0" u="none" strike="noStrike" noProof="0" dirty="0">
                          <a:solidFill>
                            <a:schemeClr val="tx1"/>
                          </a:solidFill>
                          <a:latin typeface="Calibri"/>
                        </a:rPr>
                        <a:t>Cumulative Metric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30256176"/>
                  </a:ext>
                </a:extLst>
              </a:tr>
              <a:tr h="345887"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b="1" i="0" u="none" strike="noStrike" noProof="0">
                          <a:solidFill>
                            <a:schemeClr val="tx1"/>
                          </a:solidFill>
                          <a:latin typeface="Calibri"/>
                        </a:rPr>
                        <a:t>Previous Month Summary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80481339"/>
                  </a:ext>
                </a:extLst>
              </a:tr>
              <a:tr h="345887"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b="1" i="0" u="none" strike="noStrike" noProof="0" dirty="0">
                          <a:solidFill>
                            <a:schemeClr val="tx1"/>
                          </a:solidFill>
                          <a:latin typeface="Calibri"/>
                        </a:rPr>
                        <a:t>Alert Status Update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2215755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357900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3">
            <a:extLst>
              <a:ext uri="{FF2B5EF4-FFF2-40B4-BE49-F238E27FC236}">
                <a16:creationId xmlns:a16="http://schemas.microsoft.com/office/drawing/2014/main" id="{F3E422A3-0917-41A4-9778-A3110B2D9E31}"/>
              </a:ext>
            </a:extLst>
          </p:cNvPr>
          <p:cNvSpPr txBox="1">
            <a:spLocks/>
          </p:cNvSpPr>
          <p:nvPr/>
        </p:nvSpPr>
        <p:spPr>
          <a:xfrm>
            <a:off x="291313" y="16535"/>
            <a:ext cx="10042890" cy="7500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4000">
                <a:solidFill>
                  <a:schemeClr val="accent2"/>
                </a:solidFill>
                <a:cs typeface="Arial"/>
              </a:rPr>
              <a:t>Cumulative Metrics</a:t>
            </a:r>
          </a:p>
        </p:txBody>
      </p:sp>
      <p:pic>
        <p:nvPicPr>
          <p:cNvPr id="3" name="Picture 3">
            <a:extLst>
              <a:ext uri="{FF2B5EF4-FFF2-40B4-BE49-F238E27FC236}">
                <a16:creationId xmlns:a16="http://schemas.microsoft.com/office/drawing/2014/main" id="{68DB6AAD-BA51-4CF7-E306-1282E474516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34203" y="852365"/>
            <a:ext cx="1562100" cy="2228850"/>
          </a:xfrm>
          <a:prstGeom prst="rect">
            <a:avLst/>
          </a:prstGeom>
        </p:spPr>
      </p:pic>
      <p:pic>
        <p:nvPicPr>
          <p:cNvPr id="6" name="Picture 5" descr="A graph of numbers and a number of records&#10;&#10;Description automatically generated">
            <a:extLst>
              <a:ext uri="{FF2B5EF4-FFF2-40B4-BE49-F238E27FC236}">
                <a16:creationId xmlns:a16="http://schemas.microsoft.com/office/drawing/2014/main" id="{5862AEAE-693A-811C-5CDC-EDC2D961362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03157" y="828982"/>
            <a:ext cx="8518357" cy="60124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79388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3">
            <a:extLst>
              <a:ext uri="{FF2B5EF4-FFF2-40B4-BE49-F238E27FC236}">
                <a16:creationId xmlns:a16="http://schemas.microsoft.com/office/drawing/2014/main" id="{1E6AA1DC-C98A-4ABF-99EB-3DF6B5F78A7D}"/>
              </a:ext>
            </a:extLst>
          </p:cNvPr>
          <p:cNvSpPr txBox="1">
            <a:spLocks/>
          </p:cNvSpPr>
          <p:nvPr/>
        </p:nvSpPr>
        <p:spPr>
          <a:xfrm>
            <a:off x="291313" y="16535"/>
            <a:ext cx="10042890" cy="7500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4000">
                <a:solidFill>
                  <a:schemeClr val="accent2"/>
                </a:solidFill>
                <a:cs typeface="Arial"/>
              </a:rPr>
              <a:t>Cumulative Metrics</a:t>
            </a:r>
          </a:p>
        </p:txBody>
      </p:sp>
      <p:pic>
        <p:nvPicPr>
          <p:cNvPr id="5" name="Picture 6" descr="Text&#10;&#10;Description automatically generated">
            <a:extLst>
              <a:ext uri="{FF2B5EF4-FFF2-40B4-BE49-F238E27FC236}">
                <a16:creationId xmlns:a16="http://schemas.microsoft.com/office/drawing/2014/main" id="{98944371-2B86-3166-7841-CBFB88B13E1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21938" y="5263302"/>
            <a:ext cx="2209800" cy="600075"/>
          </a:xfrm>
          <a:prstGeom prst="rect">
            <a:avLst/>
          </a:prstGeom>
        </p:spPr>
      </p:pic>
      <p:pic>
        <p:nvPicPr>
          <p:cNvPr id="3" name="Picture 2" descr="A blue and pink pie chart&#10;&#10;Description automatically generated">
            <a:extLst>
              <a:ext uri="{FF2B5EF4-FFF2-40B4-BE49-F238E27FC236}">
                <a16:creationId xmlns:a16="http://schemas.microsoft.com/office/drawing/2014/main" id="{F8652E05-855A-B4F0-51DB-CF318655FE4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42605" y="2254551"/>
            <a:ext cx="2743200" cy="2903080"/>
          </a:xfrm>
          <a:prstGeom prst="rect">
            <a:avLst/>
          </a:prstGeom>
        </p:spPr>
      </p:pic>
      <p:pic>
        <p:nvPicPr>
          <p:cNvPr id="4" name="Picture 3" descr="A screenshot of a number of text&#10;&#10;Description automatically generated">
            <a:extLst>
              <a:ext uri="{FF2B5EF4-FFF2-40B4-BE49-F238E27FC236}">
                <a16:creationId xmlns:a16="http://schemas.microsoft.com/office/drawing/2014/main" id="{517CA99C-AD6C-0689-80FD-BEB8B666467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64673" y="955149"/>
            <a:ext cx="2743200" cy="860612"/>
          </a:xfrm>
          <a:prstGeom prst="rect">
            <a:avLst/>
          </a:prstGeom>
        </p:spPr>
      </p:pic>
      <p:pic>
        <p:nvPicPr>
          <p:cNvPr id="8" name="Picture 7" descr="A graph of a bar chart&#10;&#10;Description automatically generated">
            <a:extLst>
              <a:ext uri="{FF2B5EF4-FFF2-40B4-BE49-F238E27FC236}">
                <a16:creationId xmlns:a16="http://schemas.microsoft.com/office/drawing/2014/main" id="{30C8211C-ED02-508F-925C-8A0DE00E4AB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365173" y="985315"/>
            <a:ext cx="6561858" cy="51558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316764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3">
            <a:extLst>
              <a:ext uri="{FF2B5EF4-FFF2-40B4-BE49-F238E27FC236}">
                <a16:creationId xmlns:a16="http://schemas.microsoft.com/office/drawing/2014/main" id="{CC47E83E-7D08-46B2-BF28-4D5BDF6C3A3B}"/>
              </a:ext>
            </a:extLst>
          </p:cNvPr>
          <p:cNvSpPr txBox="1">
            <a:spLocks/>
          </p:cNvSpPr>
          <p:nvPr/>
        </p:nvSpPr>
        <p:spPr>
          <a:xfrm>
            <a:off x="291313" y="16535"/>
            <a:ext cx="10042890" cy="7500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4000">
                <a:solidFill>
                  <a:schemeClr val="accent2"/>
                </a:solidFill>
                <a:cs typeface="Arial"/>
              </a:rPr>
              <a:t>Cumulative Metric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CFF6368-DC90-4FBD-9F18-35E51579F3F2}"/>
              </a:ext>
            </a:extLst>
          </p:cNvPr>
          <p:cNvSpPr txBox="1"/>
          <p:nvPr/>
        </p:nvSpPr>
        <p:spPr>
          <a:xfrm>
            <a:off x="2153552" y="4751508"/>
            <a:ext cx="634337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US"/>
          </a:p>
        </p:txBody>
      </p:sp>
      <p:pic>
        <p:nvPicPr>
          <p:cNvPr id="9" name="Picture 8" descr="A close up of words&#10;&#10;Description automatically generated">
            <a:extLst>
              <a:ext uri="{FF2B5EF4-FFF2-40B4-BE49-F238E27FC236}">
                <a16:creationId xmlns:a16="http://schemas.microsoft.com/office/drawing/2014/main" id="{7D52B1B5-3909-B77A-A553-0A667276C36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89657" y="4936174"/>
            <a:ext cx="1762125" cy="542925"/>
          </a:xfrm>
          <a:prstGeom prst="rect">
            <a:avLst/>
          </a:prstGeom>
        </p:spPr>
      </p:pic>
      <p:pic>
        <p:nvPicPr>
          <p:cNvPr id="5" name="Picture 4" descr="A green and red pie chart&#10;&#10;Description automatically generated">
            <a:extLst>
              <a:ext uri="{FF2B5EF4-FFF2-40B4-BE49-F238E27FC236}">
                <a16:creationId xmlns:a16="http://schemas.microsoft.com/office/drawing/2014/main" id="{BECABC26-B3A8-AD0D-B1AC-EC33E82DCF4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64919" y="2000248"/>
            <a:ext cx="2677348" cy="2763428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A275F24E-A320-B974-E76D-509569A3EC8C}"/>
              </a:ext>
            </a:extLst>
          </p:cNvPr>
          <p:cNvSpPr txBox="1"/>
          <p:nvPr/>
        </p:nvSpPr>
        <p:spPr>
          <a:xfrm>
            <a:off x="1317036" y="2323629"/>
            <a:ext cx="758238" cy="307777"/>
          </a:xfrm>
          <a:prstGeom prst="rect">
            <a:avLst/>
          </a:prstGeom>
          <a:solidFill>
            <a:schemeClr val="bg1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1400" dirty="0">
                <a:latin typeface="Calibri Light"/>
                <a:ea typeface="Calibri"/>
                <a:cs typeface="Calibri"/>
              </a:rPr>
              <a:t>12.44%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F7A7EAE-8FA1-11F0-3B50-7DD04E402609}"/>
              </a:ext>
            </a:extLst>
          </p:cNvPr>
          <p:cNvSpPr txBox="1"/>
          <p:nvPr/>
        </p:nvSpPr>
        <p:spPr>
          <a:xfrm>
            <a:off x="940740" y="2634073"/>
            <a:ext cx="758238" cy="523220"/>
          </a:xfrm>
          <a:prstGeom prst="rect">
            <a:avLst/>
          </a:prstGeom>
          <a:solidFill>
            <a:schemeClr val="bg1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 dirty="0">
                <a:latin typeface="Calibri Light"/>
                <a:ea typeface="Calibri"/>
                <a:cs typeface="Calibri"/>
              </a:rPr>
              <a:t>       713</a:t>
            </a:r>
            <a:endParaRPr lang="en-US" dirty="0"/>
          </a:p>
          <a:p>
            <a:r>
              <a:rPr lang="en-US" sz="1400" dirty="0">
                <a:latin typeface="Calibri Light"/>
                <a:ea typeface="Calibri"/>
                <a:cs typeface="Calibri"/>
              </a:rPr>
              <a:t>   2.32%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AE6AFDE-D78A-DB6D-BEE8-50406A128977}"/>
              </a:ext>
            </a:extLst>
          </p:cNvPr>
          <p:cNvSpPr txBox="1"/>
          <p:nvPr/>
        </p:nvSpPr>
        <p:spPr>
          <a:xfrm>
            <a:off x="254000" y="893703"/>
            <a:ext cx="4869274" cy="73866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400">
                <a:ea typeface="+mn-lt"/>
                <a:cs typeface="+mn-lt"/>
              </a:rPr>
              <a:t>BWPO Referring Provider Action on ARRC Alerts -</a:t>
            </a:r>
            <a:endParaRPr lang="en-US" sz="1400">
              <a:ea typeface="Calibri"/>
              <a:cs typeface="Calibri"/>
            </a:endParaRPr>
          </a:p>
          <a:p>
            <a:pPr algn="ctr"/>
            <a:r>
              <a:rPr lang="en-US" sz="1400" dirty="0">
                <a:ea typeface="+mn-lt"/>
                <a:cs typeface="+mn-lt"/>
              </a:rPr>
              <a:t>10/21/2019-9/30/2023</a:t>
            </a:r>
            <a:endParaRPr lang="en-US" sz="1400" dirty="0">
              <a:ea typeface="Calibri"/>
              <a:cs typeface="Calibri"/>
            </a:endParaRPr>
          </a:p>
          <a:p>
            <a:pPr algn="ctr"/>
            <a:r>
              <a:rPr lang="en-US" sz="1400" dirty="0">
                <a:ea typeface="+mn-lt"/>
                <a:cs typeface="+mn-lt"/>
              </a:rPr>
              <a:t>N=31,676/38,961</a:t>
            </a:r>
            <a:endParaRPr lang="en-US" sz="1400" dirty="0">
              <a:ea typeface="Calibri"/>
              <a:cs typeface="Calibri"/>
            </a:endParaRPr>
          </a:p>
        </p:txBody>
      </p:sp>
      <p:pic>
        <p:nvPicPr>
          <p:cNvPr id="14" name="Picture 13" descr="A graph of green and red bars&#10;&#10;Description automatically generated">
            <a:extLst>
              <a:ext uri="{FF2B5EF4-FFF2-40B4-BE49-F238E27FC236}">
                <a16:creationId xmlns:a16="http://schemas.microsoft.com/office/drawing/2014/main" id="{8E0F05BB-743E-D7D4-E74B-939F0EBCEC4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20548" y="856006"/>
            <a:ext cx="6393273" cy="54188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309335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3">
            <a:extLst>
              <a:ext uri="{FF2B5EF4-FFF2-40B4-BE49-F238E27FC236}">
                <a16:creationId xmlns:a16="http://schemas.microsoft.com/office/drawing/2014/main" id="{27C4593E-F331-4059-A2BA-5BC77797F351}"/>
              </a:ext>
            </a:extLst>
          </p:cNvPr>
          <p:cNvSpPr txBox="1">
            <a:spLocks/>
          </p:cNvSpPr>
          <p:nvPr/>
        </p:nvSpPr>
        <p:spPr>
          <a:xfrm>
            <a:off x="291313" y="16535"/>
            <a:ext cx="10042890" cy="7500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4000">
                <a:solidFill>
                  <a:schemeClr val="accent2"/>
                </a:solidFill>
                <a:cs typeface="Arial"/>
              </a:rPr>
              <a:t>Cumulative Metrics</a:t>
            </a:r>
          </a:p>
        </p:txBody>
      </p:sp>
      <p:pic>
        <p:nvPicPr>
          <p:cNvPr id="6" name="Picture 6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83C38985-DD16-CB16-3F93-A251FF06312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48153" y="3441357"/>
            <a:ext cx="2686050" cy="971550"/>
          </a:xfrm>
          <a:prstGeom prst="rect">
            <a:avLst/>
          </a:prstGeom>
        </p:spPr>
      </p:pic>
      <p:pic>
        <p:nvPicPr>
          <p:cNvPr id="3" name="Picture 2" descr="A pie chart with numbers and a number of percentages&#10;&#10;Description automatically generated">
            <a:extLst>
              <a:ext uri="{FF2B5EF4-FFF2-40B4-BE49-F238E27FC236}">
                <a16:creationId xmlns:a16="http://schemas.microsoft.com/office/drawing/2014/main" id="{EC2F97EF-AAD7-B6ED-BE52-C5A46979158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01141" y="2606714"/>
            <a:ext cx="3458163" cy="316857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4A07D6DF-089F-92E4-2C34-187726E325E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89289" y="1471161"/>
            <a:ext cx="3166533" cy="698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66122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3">
            <a:extLst>
              <a:ext uri="{FF2B5EF4-FFF2-40B4-BE49-F238E27FC236}">
                <a16:creationId xmlns:a16="http://schemas.microsoft.com/office/drawing/2014/main" id="{27C4593E-F331-4059-A2BA-5BC77797F351}"/>
              </a:ext>
            </a:extLst>
          </p:cNvPr>
          <p:cNvSpPr txBox="1">
            <a:spLocks/>
          </p:cNvSpPr>
          <p:nvPr/>
        </p:nvSpPr>
        <p:spPr>
          <a:xfrm>
            <a:off x="291313" y="16535"/>
            <a:ext cx="10042890" cy="7500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4000">
                <a:solidFill>
                  <a:schemeClr val="accent2"/>
                </a:solidFill>
                <a:cs typeface="Arial"/>
              </a:rPr>
              <a:t>Cumulative Metrics</a:t>
            </a:r>
          </a:p>
        </p:txBody>
      </p:sp>
      <p:pic>
        <p:nvPicPr>
          <p:cNvPr id="4" name="Picture 4">
            <a:extLst>
              <a:ext uri="{FF2B5EF4-FFF2-40B4-BE49-F238E27FC236}">
                <a16:creationId xmlns:a16="http://schemas.microsoft.com/office/drawing/2014/main" id="{76DC0DEC-2A79-000C-DB69-3EE007F6BC2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90167" y="3658720"/>
            <a:ext cx="1028700" cy="59055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BD2C04D-EDBE-4CF5-9E14-EF041F00A3CA}"/>
              </a:ext>
            </a:extLst>
          </p:cNvPr>
          <p:cNvSpPr txBox="1"/>
          <p:nvPr/>
        </p:nvSpPr>
        <p:spPr>
          <a:xfrm>
            <a:off x="10918867" y="3253570"/>
            <a:ext cx="634337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US"/>
          </a:p>
        </p:txBody>
      </p:sp>
      <p:pic>
        <p:nvPicPr>
          <p:cNvPr id="3" name="Picture 2" descr="A graph of numbers and a number of months&#10;&#10;Description automatically generated">
            <a:extLst>
              <a:ext uri="{FF2B5EF4-FFF2-40B4-BE49-F238E27FC236}">
                <a16:creationId xmlns:a16="http://schemas.microsoft.com/office/drawing/2014/main" id="{B1E8A220-F4E3-5C4F-381E-74C73B1A056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36295" y="1377262"/>
            <a:ext cx="7666936" cy="5412108"/>
          </a:xfrm>
          <a:prstGeom prst="rect">
            <a:avLst/>
          </a:prstGeom>
        </p:spPr>
      </p:pic>
      <p:pic>
        <p:nvPicPr>
          <p:cNvPr id="6" name="Picture 5" descr="A black text on a white background&#10;&#10;Description automatically generated">
            <a:extLst>
              <a:ext uri="{FF2B5EF4-FFF2-40B4-BE49-F238E27FC236}">
                <a16:creationId xmlns:a16="http://schemas.microsoft.com/office/drawing/2014/main" id="{1B023B92-C519-C36E-375C-5AEECF14036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76326" y="758221"/>
            <a:ext cx="2743200" cy="6190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022809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C1FB5CC-EE33-4D67-A5D0-01136FFFBE11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291313" y="1065213"/>
            <a:ext cx="11561163" cy="5057795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231775" indent="-231775">
              <a:buFont typeface="Arial" panose="020B0604020202020204" pitchFamily="34" charset="0"/>
              <a:buChar char="•"/>
            </a:pPr>
            <a:r>
              <a:rPr lang="en-US" sz="2600" dirty="0">
                <a:cs typeface="Calibri"/>
              </a:rPr>
              <a:t>October 2023 ARRC alerts: </a:t>
            </a:r>
            <a:endParaRPr lang="en-US" sz="2600" dirty="0"/>
          </a:p>
          <a:p>
            <a:pPr marL="914400" lvl="1"/>
            <a:r>
              <a:rPr lang="en-US" sz="2600" dirty="0">
                <a:solidFill>
                  <a:srgbClr val="FF0000"/>
                </a:solidFill>
                <a:ea typeface="+mn-lt"/>
                <a:cs typeface="+mn-lt"/>
              </a:rPr>
              <a:t>1,292</a:t>
            </a:r>
            <a:r>
              <a:rPr lang="en-US" sz="2600" dirty="0">
                <a:ea typeface="+mn-lt"/>
                <a:cs typeface="+mn-lt"/>
              </a:rPr>
              <a:t> ARRC alerts generated</a:t>
            </a:r>
          </a:p>
          <a:p>
            <a:pPr marL="1371600" lvl="3" indent="-223520">
              <a:buSzPct val="100000"/>
              <a:buFont typeface="Arial" panose="020B0604020202020204" pitchFamily="34" charset="0"/>
              <a:buChar char="•"/>
            </a:pPr>
            <a:r>
              <a:rPr lang="en-US" sz="2600" dirty="0">
                <a:solidFill>
                  <a:srgbClr val="FF0000"/>
                </a:solidFill>
                <a:ea typeface="+mn-lt"/>
                <a:cs typeface="+mn-lt"/>
              </a:rPr>
              <a:t>1,180</a:t>
            </a:r>
            <a:r>
              <a:rPr lang="en-US" sz="2600" dirty="0">
                <a:ea typeface="+mn-lt"/>
                <a:cs typeface="+mn-lt"/>
              </a:rPr>
              <a:t> (</a:t>
            </a:r>
            <a:r>
              <a:rPr lang="en-US" sz="2600" dirty="0">
                <a:solidFill>
                  <a:srgbClr val="FF0000"/>
                </a:solidFill>
                <a:ea typeface="+mn-lt"/>
                <a:cs typeface="+mn-lt"/>
              </a:rPr>
              <a:t>91.3</a:t>
            </a:r>
            <a:r>
              <a:rPr lang="en-US" sz="2600" dirty="0">
                <a:ea typeface="+mn-lt"/>
                <a:cs typeface="+mn-lt"/>
              </a:rPr>
              <a:t>%) follow-up alerts acknowledged</a:t>
            </a:r>
          </a:p>
          <a:p>
            <a:pPr marL="2061845" lvl="5" indent="-233045">
              <a:buFont typeface="Wingdings" panose="05000000000000000000" pitchFamily="2" charset="2"/>
              <a:buChar char="§"/>
            </a:pPr>
            <a:r>
              <a:rPr lang="en-US" sz="2600" dirty="0">
                <a:solidFill>
                  <a:srgbClr val="FF0000"/>
                </a:solidFill>
                <a:ea typeface="+mn-lt"/>
                <a:cs typeface="+mn-lt"/>
              </a:rPr>
              <a:t>361</a:t>
            </a:r>
            <a:r>
              <a:rPr lang="en-US" sz="2600" dirty="0">
                <a:ea typeface="+mn-lt"/>
                <a:cs typeface="+mn-lt"/>
              </a:rPr>
              <a:t> (</a:t>
            </a:r>
            <a:r>
              <a:rPr lang="en-US" sz="2600" dirty="0">
                <a:solidFill>
                  <a:srgbClr val="FF0000"/>
                </a:solidFill>
                <a:ea typeface="+mn-lt"/>
                <a:cs typeface="+mn-lt"/>
              </a:rPr>
              <a:t>30.5</a:t>
            </a:r>
            <a:r>
              <a:rPr lang="en-US" sz="2600" dirty="0">
                <a:ea typeface="+mn-lt"/>
                <a:cs typeface="+mn-lt"/>
              </a:rPr>
              <a:t>%) follow-up alerts sent directly to Brigham Radiology Care Coordination (minimized leakage)</a:t>
            </a:r>
          </a:p>
          <a:p>
            <a:pPr marL="1376045" lvl="2" indent="-231775">
              <a:buFont typeface="Arial" panose="020B0604020202020204" pitchFamily="34" charset="0"/>
              <a:buChar char="•"/>
            </a:pPr>
            <a:r>
              <a:rPr lang="en-US" sz="2600" dirty="0">
                <a:solidFill>
                  <a:srgbClr val="FF0000"/>
                </a:solidFill>
                <a:ea typeface="+mn-lt"/>
                <a:cs typeface="+mn-lt"/>
              </a:rPr>
              <a:t>&lt;1</a:t>
            </a:r>
            <a:r>
              <a:rPr lang="en-US" sz="2600" dirty="0">
                <a:ea typeface="+mn-lt"/>
                <a:cs typeface="+mn-lt"/>
              </a:rPr>
              <a:t>% disagreement from ordering providers</a:t>
            </a:r>
          </a:p>
          <a:p>
            <a:pPr marL="914400" lvl="1"/>
            <a:r>
              <a:rPr lang="en-US" sz="2600">
                <a:solidFill>
                  <a:srgbClr val="FF0000"/>
                </a:solidFill>
                <a:ea typeface="+mn-lt"/>
                <a:cs typeface="+mn-lt"/>
              </a:rPr>
              <a:t>551</a:t>
            </a:r>
            <a:r>
              <a:rPr lang="en-US" sz="2600">
                <a:ea typeface="+mn-lt"/>
                <a:cs typeface="+mn-lt"/>
              </a:rPr>
              <a:t> BI-RADS 3 recommendations generated</a:t>
            </a:r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4E4DD4B4-CC3F-48FA-A5E5-6C65C346258D}"/>
              </a:ext>
            </a:extLst>
          </p:cNvPr>
          <p:cNvSpPr txBox="1">
            <a:spLocks/>
          </p:cNvSpPr>
          <p:nvPr/>
        </p:nvSpPr>
        <p:spPr>
          <a:xfrm>
            <a:off x="291313" y="16535"/>
            <a:ext cx="10042890" cy="7500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4000">
                <a:solidFill>
                  <a:schemeClr val="accent2"/>
                </a:solidFill>
                <a:cs typeface="Arial"/>
              </a:rPr>
              <a:t>Previous Month Summary</a:t>
            </a:r>
          </a:p>
        </p:txBody>
      </p:sp>
    </p:spTree>
    <p:extLst>
      <p:ext uri="{BB962C8B-B14F-4D97-AF65-F5344CB8AC3E}">
        <p14:creationId xmlns:p14="http://schemas.microsoft.com/office/powerpoint/2010/main" val="215782912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3">
            <a:extLst>
              <a:ext uri="{FF2B5EF4-FFF2-40B4-BE49-F238E27FC236}">
                <a16:creationId xmlns:a16="http://schemas.microsoft.com/office/drawing/2014/main" id="{27C4593E-F331-4059-A2BA-5BC77797F351}"/>
              </a:ext>
            </a:extLst>
          </p:cNvPr>
          <p:cNvSpPr txBox="1">
            <a:spLocks/>
          </p:cNvSpPr>
          <p:nvPr/>
        </p:nvSpPr>
        <p:spPr>
          <a:xfrm>
            <a:off x="291313" y="16535"/>
            <a:ext cx="10042890" cy="7500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4000">
                <a:solidFill>
                  <a:schemeClr val="accent2"/>
                </a:solidFill>
                <a:cs typeface="Arial"/>
              </a:rPr>
              <a:t>Alert Status Updat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F978A67-353B-4C2D-80DA-3A47F2FB7342}"/>
              </a:ext>
            </a:extLst>
          </p:cNvPr>
          <p:cNvSpPr txBox="1"/>
          <p:nvPr/>
        </p:nvSpPr>
        <p:spPr>
          <a:xfrm>
            <a:off x="10400145" y="3295561"/>
            <a:ext cx="835891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190C5E6-1C04-A2F8-91A4-8B81C8552F6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77807" y="994507"/>
            <a:ext cx="9667050" cy="51418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76790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xCUTrzp..khx_FJMRB_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12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MGB_standard_template_082020">
  <a:themeElements>
    <a:clrScheme name="MGB">
      <a:dk1>
        <a:srgbClr val="000000"/>
      </a:dk1>
      <a:lt1>
        <a:srgbClr val="FFFFFF"/>
      </a:lt1>
      <a:dk2>
        <a:srgbClr val="B0E3E2"/>
      </a:dk2>
      <a:lt2>
        <a:srgbClr val="808080"/>
      </a:lt2>
      <a:accent1>
        <a:srgbClr val="009AA3"/>
      </a:accent1>
      <a:accent2>
        <a:srgbClr val="003A93"/>
      </a:accent2>
      <a:accent3>
        <a:srgbClr val="0077CA"/>
      </a:accent3>
      <a:accent4>
        <a:srgbClr val="CD7F00"/>
      </a:accent4>
      <a:accent5>
        <a:srgbClr val="5C068A"/>
      </a:accent5>
      <a:accent6>
        <a:srgbClr val="CC0037"/>
      </a:accent6>
      <a:hlink>
        <a:srgbClr val="0077CA"/>
      </a:hlink>
      <a:folHlink>
        <a:srgbClr val="5C068A"/>
      </a:folHlink>
    </a:clrScheme>
    <a:fontScheme name="MGB2">
      <a:majorFont>
        <a:latin typeface="Georgia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MGB_standard_template_022021" id="{D73F0B1C-26EB-3F44-8AE0-474B42F0F61E}" vid="{68716181-CC01-2345-AB9B-FFE4016E16B6}"/>
    </a:ext>
  </a:extLst>
</a:theme>
</file>

<file path=ppt/theme/theme1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4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3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10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5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8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11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9CF94C657971F48B56CF0CEC1DF5728" ma:contentTypeVersion="13" ma:contentTypeDescription="Create a new document." ma:contentTypeScope="" ma:versionID="704ec41c510f8f1d683de7ff9adbbbb5">
  <xsd:schema xmlns:xsd="http://www.w3.org/2001/XMLSchema" xmlns:xs="http://www.w3.org/2001/XMLSchema" xmlns:p="http://schemas.microsoft.com/office/2006/metadata/properties" xmlns:ns2="d883cfbb-81ad-4367-a715-9c0ce3e1ecef" xmlns:ns3="08ca8ea8-773b-48a0-85fd-a3c46225388c" targetNamespace="http://schemas.microsoft.com/office/2006/metadata/properties" ma:root="true" ma:fieldsID="c216f044313ecaeccbfdc7e6e401549c" ns2:_="" ns3:_="">
    <xsd:import namespace="d883cfbb-81ad-4367-a715-9c0ce3e1ecef"/>
    <xsd:import namespace="08ca8ea8-773b-48a0-85fd-a3c46225388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LengthInSecond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883cfbb-81ad-4367-a715-9c0ce3e1ece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8ca8ea8-773b-48a0-85fd-a3c46225388c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D8C049A-5F92-4AC1-A394-13A1E3224B2E}">
  <ds:schemaRefs>
    <ds:schemaRef ds:uri="http://schemas.microsoft.com/office/infopath/2007/PartnerControls"/>
    <ds:schemaRef ds:uri="http://purl.org/dc/terms/"/>
    <ds:schemaRef ds:uri="http://schemas.microsoft.com/office/2006/metadata/properties"/>
    <ds:schemaRef ds:uri="http://schemas.microsoft.com/office/2006/documentManagement/types"/>
    <ds:schemaRef ds:uri="08ca8ea8-773b-48a0-85fd-a3c46225388c"/>
    <ds:schemaRef ds:uri="d883cfbb-81ad-4367-a715-9c0ce3e1ecef"/>
    <ds:schemaRef ds:uri="http://purl.org/dc/elements/1.1/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166AE1D1-D70A-4926-B545-571742A2554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4002BFB-C803-46C5-A0AD-7BEFCA40E486}">
  <ds:schemaRefs>
    <ds:schemaRef ds:uri="08ca8ea8-773b-48a0-85fd-a3c46225388c"/>
    <ds:schemaRef ds:uri="d883cfbb-81ad-4367-a715-9c0ce3e1ecef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1</TotalTime>
  <Words>351</Words>
  <Application>Microsoft Office PowerPoint</Application>
  <PresentationFormat>Widescreen</PresentationFormat>
  <Paragraphs>55</Paragraphs>
  <Slides>11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31" baseType="lpstr">
      <vt:lpstr>Arial</vt:lpstr>
      <vt:lpstr>Calibri</vt:lpstr>
      <vt:lpstr>Calibri Light</vt:lpstr>
      <vt:lpstr>Georgia</vt:lpstr>
      <vt:lpstr>Segoe UI</vt:lpstr>
      <vt:lpstr>System Font Regular</vt:lpstr>
      <vt:lpstr>Wingdings</vt:lpstr>
      <vt:lpstr>1_Custom Design</vt:lpstr>
      <vt:lpstr>Custom Design</vt:lpstr>
      <vt:lpstr>2_Custom Design</vt:lpstr>
      <vt:lpstr>4_Custom Design</vt:lpstr>
      <vt:lpstr>3_Custom Design</vt:lpstr>
      <vt:lpstr>10_Custom Design</vt:lpstr>
      <vt:lpstr>5_Custom Design</vt:lpstr>
      <vt:lpstr>8_Custom Design</vt:lpstr>
      <vt:lpstr>11_Custom Design</vt:lpstr>
      <vt:lpstr>12_Custom Design</vt:lpstr>
      <vt:lpstr>1_Custom Design</vt:lpstr>
      <vt:lpstr>MGB_standard_template_082020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evie, Alexandra Catherine</dc:creator>
  <cp:lastModifiedBy>Lorusso, Jessica A.</cp:lastModifiedBy>
  <cp:revision>161</cp:revision>
  <dcterms:created xsi:type="dcterms:W3CDTF">2021-02-02T16:14:45Z</dcterms:created>
  <dcterms:modified xsi:type="dcterms:W3CDTF">2023-11-21T12:52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9CF94C657971F48B56CF0CEC1DF5728</vt:lpwstr>
  </property>
</Properties>
</file>